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0.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3.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4.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5.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6.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7.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8.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9.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20.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21.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22.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23.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notesSlides/notesSlide24.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notesSlides/notesSlide25.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notesSlides/notesSlide26.xml" ContentType="application/vnd.openxmlformats-officedocument.presentationml.notesSlide+xml"/>
  <Override PartName="/ppt/tags/tag163.xml" ContentType="application/vnd.openxmlformats-officedocument.presentationml.tags+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32"/>
  </p:notesMasterIdLst>
  <p:sldIdLst>
    <p:sldId id="256" r:id="rId5"/>
    <p:sldId id="387" r:id="rId6"/>
    <p:sldId id="267" r:id="rId7"/>
    <p:sldId id="357" r:id="rId8"/>
    <p:sldId id="362" r:id="rId9"/>
    <p:sldId id="272" r:id="rId10"/>
    <p:sldId id="269" r:id="rId11"/>
    <p:sldId id="363" r:id="rId12"/>
    <p:sldId id="317" r:id="rId13"/>
    <p:sldId id="364" r:id="rId14"/>
    <p:sldId id="365" r:id="rId15"/>
    <p:sldId id="366" r:id="rId16"/>
    <p:sldId id="367" r:id="rId17"/>
    <p:sldId id="368" r:id="rId18"/>
    <p:sldId id="369" r:id="rId19"/>
    <p:sldId id="370" r:id="rId20"/>
    <p:sldId id="372" r:id="rId21"/>
    <p:sldId id="373" r:id="rId22"/>
    <p:sldId id="374" r:id="rId23"/>
    <p:sldId id="383" r:id="rId24"/>
    <p:sldId id="384" r:id="rId25"/>
    <p:sldId id="385" r:id="rId26"/>
    <p:sldId id="376" r:id="rId27"/>
    <p:sldId id="379" r:id="rId28"/>
    <p:sldId id="381" r:id="rId29"/>
    <p:sldId id="382" r:id="rId30"/>
    <p:sldId id="388" r:id="rId31"/>
  </p:sldIdLst>
  <p:sldSz cx="9906000" cy="6858000" type="A4"/>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1833" userDrawn="1">
          <p15:clr>
            <a:srgbClr val="A4A3A4"/>
          </p15:clr>
        </p15:guide>
        <p15:guide id="2" pos="3369" userDrawn="1">
          <p15:clr>
            <a:srgbClr val="A4A3A4"/>
          </p15:clr>
        </p15:guide>
        <p15:guide id="3" orient="horz" pos="3838" userDrawn="1">
          <p15:clr>
            <a:srgbClr val="A4A3A4"/>
          </p15:clr>
        </p15:guide>
        <p15:guide id="4" orient="horz" pos="3543" userDrawn="1">
          <p15:clr>
            <a:srgbClr val="A4A3A4"/>
          </p15:clr>
        </p15:guide>
        <p15:guide id="5" pos="4118" userDrawn="1">
          <p15:clr>
            <a:srgbClr val="A4A3A4"/>
          </p15:clr>
        </p15:guide>
        <p15:guide id="6" orient="horz" pos="1230" userDrawn="1">
          <p15:clr>
            <a:srgbClr val="A4A3A4"/>
          </p15:clr>
        </p15:guide>
        <p15:guide id="7" orient="horz" pos="1146" userDrawn="1">
          <p15:clr>
            <a:srgbClr val="A4A3A4"/>
          </p15:clr>
        </p15:guide>
        <p15:guide id="8" pos="493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747678"/>
    <a:srgbClr val="BC204B"/>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434" autoAdjust="0"/>
  </p:normalViewPr>
  <p:slideViewPr>
    <p:cSldViewPr snapToGrid="0" showGuides="1">
      <p:cViewPr varScale="1">
        <p:scale>
          <a:sx n="61" d="100"/>
          <a:sy n="61" d="100"/>
        </p:scale>
        <p:origin x="1458" y="78"/>
      </p:cViewPr>
      <p:guideLst>
        <p:guide pos="1833"/>
        <p:guide pos="3369"/>
        <p:guide orient="horz" pos="3838"/>
        <p:guide orient="horz" pos="3543"/>
        <p:guide pos="4118"/>
        <p:guide orient="horz" pos="1230"/>
        <p:guide orient="horz" pos="1146"/>
        <p:guide pos="4934"/>
      </p:guideLst>
    </p:cSldViewPr>
  </p:slideViewPr>
  <p:outlineViewPr>
    <p:cViewPr>
      <p:scale>
        <a:sx n="33" d="100"/>
        <a:sy n="33" d="100"/>
      </p:scale>
      <p:origin x="0" y="-42816"/>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C56E36-BD60-4996-A54F-2A81A6579AC0}" type="datetimeFigureOut">
              <a:rPr lang="en-US" smtClean="0"/>
              <a:t>4/21/2017</a:t>
            </a:fld>
            <a:endParaRPr lang="en-US" dirty="0"/>
          </a:p>
        </p:txBody>
      </p:sp>
      <p:sp>
        <p:nvSpPr>
          <p:cNvPr id="4" name="Folienbildplatzhalt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FDB911-8F17-4492-BCBD-56AB6B438C36}" type="slidenum">
              <a:rPr lang="en-US" smtClean="0"/>
              <a:t>‹Nr.›</a:t>
            </a:fld>
            <a:endParaRPr lang="en-US" dirty="0"/>
          </a:p>
        </p:txBody>
      </p:sp>
    </p:spTree>
    <p:extLst>
      <p:ext uri="{BB962C8B-B14F-4D97-AF65-F5344CB8AC3E}">
        <p14:creationId xmlns:p14="http://schemas.microsoft.com/office/powerpoint/2010/main" val="1221088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a:t>
            </a:fld>
            <a:endParaRPr lang="en-US" dirty="0"/>
          </a:p>
        </p:txBody>
      </p:sp>
    </p:spTree>
    <p:extLst>
      <p:ext uri="{BB962C8B-B14F-4D97-AF65-F5344CB8AC3E}">
        <p14:creationId xmlns:p14="http://schemas.microsoft.com/office/powerpoint/2010/main" val="41001247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0</a:t>
            </a:fld>
            <a:endParaRPr lang="en-US" dirty="0"/>
          </a:p>
        </p:txBody>
      </p:sp>
    </p:spTree>
    <p:extLst>
      <p:ext uri="{BB962C8B-B14F-4D97-AF65-F5344CB8AC3E}">
        <p14:creationId xmlns:p14="http://schemas.microsoft.com/office/powerpoint/2010/main" val="29745724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1</a:t>
            </a:fld>
            <a:endParaRPr lang="en-US" dirty="0"/>
          </a:p>
        </p:txBody>
      </p:sp>
    </p:spTree>
    <p:extLst>
      <p:ext uri="{BB962C8B-B14F-4D97-AF65-F5344CB8AC3E}">
        <p14:creationId xmlns:p14="http://schemas.microsoft.com/office/powerpoint/2010/main" val="8346330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2</a:t>
            </a:fld>
            <a:endParaRPr lang="en-US" dirty="0"/>
          </a:p>
        </p:txBody>
      </p:sp>
    </p:spTree>
    <p:extLst>
      <p:ext uri="{BB962C8B-B14F-4D97-AF65-F5344CB8AC3E}">
        <p14:creationId xmlns:p14="http://schemas.microsoft.com/office/powerpoint/2010/main" val="15972443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3</a:t>
            </a:fld>
            <a:endParaRPr lang="en-US" dirty="0"/>
          </a:p>
        </p:txBody>
      </p:sp>
    </p:spTree>
    <p:extLst>
      <p:ext uri="{BB962C8B-B14F-4D97-AF65-F5344CB8AC3E}">
        <p14:creationId xmlns:p14="http://schemas.microsoft.com/office/powerpoint/2010/main" val="41911737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4</a:t>
            </a:fld>
            <a:endParaRPr lang="en-US" dirty="0"/>
          </a:p>
        </p:txBody>
      </p:sp>
    </p:spTree>
    <p:extLst>
      <p:ext uri="{BB962C8B-B14F-4D97-AF65-F5344CB8AC3E}">
        <p14:creationId xmlns:p14="http://schemas.microsoft.com/office/powerpoint/2010/main" val="22721612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5</a:t>
            </a:fld>
            <a:endParaRPr lang="en-US" dirty="0"/>
          </a:p>
        </p:txBody>
      </p:sp>
    </p:spTree>
    <p:extLst>
      <p:ext uri="{BB962C8B-B14F-4D97-AF65-F5344CB8AC3E}">
        <p14:creationId xmlns:p14="http://schemas.microsoft.com/office/powerpoint/2010/main" val="6609062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6</a:t>
            </a:fld>
            <a:endParaRPr lang="en-US" dirty="0"/>
          </a:p>
        </p:txBody>
      </p:sp>
    </p:spTree>
    <p:extLst>
      <p:ext uri="{BB962C8B-B14F-4D97-AF65-F5344CB8AC3E}">
        <p14:creationId xmlns:p14="http://schemas.microsoft.com/office/powerpoint/2010/main" val="27857441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7</a:t>
            </a:fld>
            <a:endParaRPr lang="en-US" dirty="0"/>
          </a:p>
        </p:txBody>
      </p:sp>
    </p:spTree>
    <p:extLst>
      <p:ext uri="{BB962C8B-B14F-4D97-AF65-F5344CB8AC3E}">
        <p14:creationId xmlns:p14="http://schemas.microsoft.com/office/powerpoint/2010/main" val="18597235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8</a:t>
            </a:fld>
            <a:endParaRPr lang="en-US" dirty="0"/>
          </a:p>
        </p:txBody>
      </p:sp>
    </p:spTree>
    <p:extLst>
      <p:ext uri="{BB962C8B-B14F-4D97-AF65-F5344CB8AC3E}">
        <p14:creationId xmlns:p14="http://schemas.microsoft.com/office/powerpoint/2010/main" val="21137804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19</a:t>
            </a:fld>
            <a:endParaRPr lang="en-US" dirty="0"/>
          </a:p>
        </p:txBody>
      </p:sp>
    </p:spTree>
    <p:extLst>
      <p:ext uri="{BB962C8B-B14F-4D97-AF65-F5344CB8AC3E}">
        <p14:creationId xmlns:p14="http://schemas.microsoft.com/office/powerpoint/2010/main" val="22554658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a:t>
            </a:fld>
            <a:endParaRPr lang="en-US" dirty="0"/>
          </a:p>
        </p:txBody>
      </p:sp>
    </p:spTree>
    <p:extLst>
      <p:ext uri="{BB962C8B-B14F-4D97-AF65-F5344CB8AC3E}">
        <p14:creationId xmlns:p14="http://schemas.microsoft.com/office/powerpoint/2010/main" val="32373029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0</a:t>
            </a:fld>
            <a:endParaRPr lang="en-US" dirty="0"/>
          </a:p>
        </p:txBody>
      </p:sp>
    </p:spTree>
    <p:extLst>
      <p:ext uri="{BB962C8B-B14F-4D97-AF65-F5344CB8AC3E}">
        <p14:creationId xmlns:p14="http://schemas.microsoft.com/office/powerpoint/2010/main" val="15417034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1</a:t>
            </a:fld>
            <a:endParaRPr lang="en-US" dirty="0"/>
          </a:p>
        </p:txBody>
      </p:sp>
    </p:spTree>
    <p:extLst>
      <p:ext uri="{BB962C8B-B14F-4D97-AF65-F5344CB8AC3E}">
        <p14:creationId xmlns:p14="http://schemas.microsoft.com/office/powerpoint/2010/main" val="36506622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2</a:t>
            </a:fld>
            <a:endParaRPr lang="en-US" dirty="0"/>
          </a:p>
        </p:txBody>
      </p:sp>
    </p:spTree>
    <p:extLst>
      <p:ext uri="{BB962C8B-B14F-4D97-AF65-F5344CB8AC3E}">
        <p14:creationId xmlns:p14="http://schemas.microsoft.com/office/powerpoint/2010/main" val="36458866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3</a:t>
            </a:fld>
            <a:endParaRPr lang="en-US" dirty="0"/>
          </a:p>
        </p:txBody>
      </p:sp>
    </p:spTree>
    <p:extLst>
      <p:ext uri="{BB962C8B-B14F-4D97-AF65-F5344CB8AC3E}">
        <p14:creationId xmlns:p14="http://schemas.microsoft.com/office/powerpoint/2010/main" val="359487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4</a:t>
            </a:fld>
            <a:endParaRPr lang="en-US" dirty="0"/>
          </a:p>
        </p:txBody>
      </p:sp>
    </p:spTree>
    <p:extLst>
      <p:ext uri="{BB962C8B-B14F-4D97-AF65-F5344CB8AC3E}">
        <p14:creationId xmlns:p14="http://schemas.microsoft.com/office/powerpoint/2010/main" val="15755010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5</a:t>
            </a:fld>
            <a:endParaRPr lang="en-US" dirty="0"/>
          </a:p>
        </p:txBody>
      </p:sp>
    </p:spTree>
    <p:extLst>
      <p:ext uri="{BB962C8B-B14F-4D97-AF65-F5344CB8AC3E}">
        <p14:creationId xmlns:p14="http://schemas.microsoft.com/office/powerpoint/2010/main" val="25517174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6</a:t>
            </a:fld>
            <a:endParaRPr lang="en-US" dirty="0"/>
          </a:p>
        </p:txBody>
      </p:sp>
    </p:spTree>
    <p:extLst>
      <p:ext uri="{BB962C8B-B14F-4D97-AF65-F5344CB8AC3E}">
        <p14:creationId xmlns:p14="http://schemas.microsoft.com/office/powerpoint/2010/main" val="17885843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7</a:t>
            </a:fld>
            <a:endParaRPr lang="en-US" dirty="0"/>
          </a:p>
        </p:txBody>
      </p:sp>
    </p:spTree>
    <p:extLst>
      <p:ext uri="{BB962C8B-B14F-4D97-AF65-F5344CB8AC3E}">
        <p14:creationId xmlns:p14="http://schemas.microsoft.com/office/powerpoint/2010/main" val="28293596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3</a:t>
            </a:fld>
            <a:endParaRPr lang="en-US" dirty="0"/>
          </a:p>
        </p:txBody>
      </p:sp>
    </p:spTree>
    <p:extLst>
      <p:ext uri="{BB962C8B-B14F-4D97-AF65-F5344CB8AC3E}">
        <p14:creationId xmlns:p14="http://schemas.microsoft.com/office/powerpoint/2010/main" val="12920505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4</a:t>
            </a:fld>
            <a:endParaRPr lang="en-US" dirty="0"/>
          </a:p>
        </p:txBody>
      </p:sp>
    </p:spTree>
    <p:extLst>
      <p:ext uri="{BB962C8B-B14F-4D97-AF65-F5344CB8AC3E}">
        <p14:creationId xmlns:p14="http://schemas.microsoft.com/office/powerpoint/2010/main" val="35918300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5</a:t>
            </a:fld>
            <a:endParaRPr lang="en-US" dirty="0"/>
          </a:p>
        </p:txBody>
      </p:sp>
    </p:spTree>
    <p:extLst>
      <p:ext uri="{BB962C8B-B14F-4D97-AF65-F5344CB8AC3E}">
        <p14:creationId xmlns:p14="http://schemas.microsoft.com/office/powerpoint/2010/main" val="4166853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6</a:t>
            </a:fld>
            <a:endParaRPr lang="en-US" dirty="0"/>
          </a:p>
        </p:txBody>
      </p:sp>
    </p:spTree>
    <p:extLst>
      <p:ext uri="{BB962C8B-B14F-4D97-AF65-F5344CB8AC3E}">
        <p14:creationId xmlns:p14="http://schemas.microsoft.com/office/powerpoint/2010/main" val="326463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7</a:t>
            </a:fld>
            <a:endParaRPr lang="en-US" dirty="0"/>
          </a:p>
        </p:txBody>
      </p:sp>
    </p:spTree>
    <p:extLst>
      <p:ext uri="{BB962C8B-B14F-4D97-AF65-F5344CB8AC3E}">
        <p14:creationId xmlns:p14="http://schemas.microsoft.com/office/powerpoint/2010/main" val="1350446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8</a:t>
            </a:fld>
            <a:endParaRPr lang="en-US" dirty="0"/>
          </a:p>
        </p:txBody>
      </p:sp>
    </p:spTree>
    <p:extLst>
      <p:ext uri="{BB962C8B-B14F-4D97-AF65-F5344CB8AC3E}">
        <p14:creationId xmlns:p14="http://schemas.microsoft.com/office/powerpoint/2010/main" val="16828986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9</a:t>
            </a:fld>
            <a:endParaRPr lang="en-US" dirty="0"/>
          </a:p>
        </p:txBody>
      </p:sp>
    </p:spTree>
    <p:extLst>
      <p:ext uri="{BB962C8B-B14F-4D97-AF65-F5344CB8AC3E}">
        <p14:creationId xmlns:p14="http://schemas.microsoft.com/office/powerpoint/2010/main" val="29144322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 Right light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9906000"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1 – </a:t>
            </a:r>
            <a:br>
              <a:rPr lang="en-GB" dirty="0" smtClean="0"/>
            </a:br>
            <a:r>
              <a:rPr lang="en-GB" dirty="0" smtClean="0"/>
              <a:t>Left light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9860921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KEY MESSAGE 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2688"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52951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EY MESSAGE Graph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1506662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867071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892810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
        <p:nvSpPr>
          <p:cNvPr id="6" name="Title 5"/>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Tree>
    <p:extLst>
      <p:ext uri="{BB962C8B-B14F-4D97-AF65-F5344CB8AC3E}">
        <p14:creationId xmlns:p14="http://schemas.microsoft.com/office/powerpoint/2010/main" val="107617394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4" name="Text Placeholder 8"/>
          <p:cNvSpPr>
            <a:spLocks noGrp="1"/>
          </p:cNvSpPr>
          <p:nvPr>
            <p:ph type="body" sz="quarter" idx="11"/>
          </p:nvPr>
        </p:nvSpPr>
        <p:spPr>
          <a:xfrm>
            <a:off x="5043900" y="1422400"/>
            <a:ext cx="403650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6099674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de-DE" dirty="0" smtClean="0"/>
              <a:t>Diagramm durch Klicken auf Symbol hinzufügen</a:t>
            </a:r>
            <a:endParaRPr lang="en-GB" dirty="0"/>
          </a:p>
        </p:txBody>
      </p:sp>
      <p:sp>
        <p:nvSpPr>
          <p:cNvPr id="2" name="Title 1"/>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4688539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3830800"/>
            <a:ext cx="89281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Chart Placeholder 4"/>
          <p:cNvSpPr>
            <a:spLocks noGrp="1"/>
          </p:cNvSpPr>
          <p:nvPr>
            <p:ph type="chart" sz="quarter" idx="11"/>
          </p:nvPr>
        </p:nvSpPr>
        <p:spPr>
          <a:xfrm>
            <a:off x="488950" y="1422400"/>
            <a:ext cx="8928100" cy="2196000"/>
          </a:xfrm>
        </p:spPr>
        <p:txBody>
          <a:bodyPr anchor="ctr"/>
          <a:lstStyle>
            <a:lvl1pPr algn="ctr">
              <a:defRPr/>
            </a:lvl1pPr>
          </a:lstStyle>
          <a:p>
            <a:r>
              <a:rPr lang="de-DE" dirty="0" smtClean="0"/>
              <a:t>Diagramm durch Klicken auf Symbol hinzufügen</a:t>
            </a:r>
            <a:endParaRPr lang="en-GB" dirty="0" smtClean="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7866153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0" y="1422400"/>
            <a:ext cx="2844000" cy="2196000"/>
          </a:xfrm>
        </p:spPr>
        <p:txBody>
          <a:bodyPr anchor="ctr"/>
          <a:lstStyle>
            <a:lvl1pPr algn="ctr">
              <a:defRPr/>
            </a:lvl1pPr>
          </a:lstStyle>
          <a:p>
            <a:r>
              <a:rPr lang="de-DE" dirty="0" smtClean="0"/>
              <a:t>Diagramm durch Klicken auf Symbol hinzufügen</a:t>
            </a:r>
            <a:endParaRPr lang="en-GB" dirty="0" smtClean="0"/>
          </a:p>
        </p:txBody>
      </p:sp>
      <p:sp>
        <p:nvSpPr>
          <p:cNvPr id="6" name="Chart Placeholder 4"/>
          <p:cNvSpPr>
            <a:spLocks noGrp="1"/>
          </p:cNvSpPr>
          <p:nvPr>
            <p:ph type="chart" sz="quarter" idx="12"/>
          </p:nvPr>
        </p:nvSpPr>
        <p:spPr>
          <a:xfrm>
            <a:off x="488950" y="1422400"/>
            <a:ext cx="2844000" cy="2196000"/>
          </a:xfrm>
        </p:spPr>
        <p:txBody>
          <a:bodyPr anchor="ctr"/>
          <a:lstStyle>
            <a:lvl1pPr algn="ctr">
              <a:defRPr/>
            </a:lvl1pPr>
          </a:lstStyle>
          <a:p>
            <a:r>
              <a:rPr lang="de-DE" dirty="0" smtClean="0"/>
              <a:t>Diagramm durch Klicken auf Symbol hinzufügen</a:t>
            </a:r>
            <a:endParaRPr lang="en-GB" dirty="0" smtClean="0"/>
          </a:p>
        </p:txBody>
      </p:sp>
      <p:sp>
        <p:nvSpPr>
          <p:cNvPr id="7" name="Text Placeholder 8"/>
          <p:cNvSpPr>
            <a:spLocks noGrp="1"/>
          </p:cNvSpPr>
          <p:nvPr>
            <p:ph type="body" sz="quarter" idx="10"/>
          </p:nvPr>
        </p:nvSpPr>
        <p:spPr>
          <a:xfrm>
            <a:off x="48894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8" name="Chart Placeholder 4"/>
          <p:cNvSpPr>
            <a:spLocks noGrp="1"/>
          </p:cNvSpPr>
          <p:nvPr>
            <p:ph type="chart" sz="quarter" idx="13"/>
          </p:nvPr>
        </p:nvSpPr>
        <p:spPr>
          <a:xfrm>
            <a:off x="6573050" y="1422400"/>
            <a:ext cx="2844000" cy="2196000"/>
          </a:xfrm>
        </p:spPr>
        <p:txBody>
          <a:bodyPr anchor="ctr"/>
          <a:lstStyle>
            <a:lvl1pPr algn="ctr">
              <a:defRPr/>
            </a:lvl1pPr>
          </a:lstStyle>
          <a:p>
            <a:r>
              <a:rPr lang="de-DE" dirty="0" smtClean="0"/>
              <a:t>Diagramm durch Klicken auf Symbol hinzufügen</a:t>
            </a:r>
            <a:endParaRPr lang="en-GB" dirty="0" smtClean="0"/>
          </a:p>
        </p:txBody>
      </p:sp>
      <p:sp>
        <p:nvSpPr>
          <p:cNvPr id="9" name="Text Placeholder 8"/>
          <p:cNvSpPr>
            <a:spLocks noGrp="1"/>
          </p:cNvSpPr>
          <p:nvPr>
            <p:ph type="body" sz="quarter" idx="14"/>
          </p:nvPr>
        </p:nvSpPr>
        <p:spPr>
          <a:xfrm>
            <a:off x="353099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0" name="Text Placeholder 8"/>
          <p:cNvSpPr>
            <a:spLocks noGrp="1"/>
          </p:cNvSpPr>
          <p:nvPr>
            <p:ph type="body" sz="quarter" idx="15"/>
          </p:nvPr>
        </p:nvSpPr>
        <p:spPr>
          <a:xfrm>
            <a:off x="6573050"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6"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4413369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88950" y="1422400"/>
            <a:ext cx="8928100" cy="4604400"/>
          </a:xfrm>
        </p:spPr>
        <p:txBody>
          <a:bodyPr anchor="ctr"/>
          <a:lstStyle>
            <a:lvl1pPr algn="ctr">
              <a:defRPr/>
            </a:lvl1pPr>
          </a:lstStyle>
          <a:p>
            <a:r>
              <a:rPr lang="de-DE" dirty="0" smtClean="0"/>
              <a:t>Bild durch Klicken auf Symbol hinzufügen</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54668584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906000" cy="6026800"/>
          </a:xfrm>
        </p:spPr>
        <p:txBody>
          <a:bodyPr anchor="ctr"/>
          <a:lstStyle>
            <a:lvl1pPr algn="ctr">
              <a:defRPr/>
            </a:lvl1pPr>
          </a:lstStyle>
          <a:p>
            <a:r>
              <a:rPr lang="de-DE" dirty="0" smtClean="0"/>
              <a:t>Bild durch Klicken auf Symbol hinzufügen</a:t>
            </a:r>
            <a:endParaRPr lang="en-GB" dirty="0"/>
          </a:p>
        </p:txBody>
      </p:sp>
    </p:spTree>
    <p:extLst>
      <p:ext uri="{BB962C8B-B14F-4D97-AF65-F5344CB8AC3E}">
        <p14:creationId xmlns:p14="http://schemas.microsoft.com/office/powerpoint/2010/main" val="29006133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2 – </a:t>
            </a:r>
            <a:br>
              <a:rPr lang="en-GB" dirty="0" smtClean="0"/>
            </a:br>
            <a:r>
              <a:rPr lang="en-GB" dirty="0" smtClean="0"/>
              <a:t>Right dark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148078355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31597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414300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7002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1620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31597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414300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597002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12"/>
          <p:cNvSpPr>
            <a:spLocks noGrp="1"/>
          </p:cNvSpPr>
          <p:nvPr>
            <p:ph type="body" sz="quarter" idx="18" hasCustomPrompt="1"/>
          </p:nvPr>
        </p:nvSpPr>
        <p:spPr>
          <a:xfrm>
            <a:off x="779705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2" name="Text Placeholder 8"/>
          <p:cNvSpPr>
            <a:spLocks noGrp="1"/>
          </p:cNvSpPr>
          <p:nvPr>
            <p:ph type="body" sz="quarter" idx="19"/>
          </p:nvPr>
        </p:nvSpPr>
        <p:spPr>
          <a:xfrm>
            <a:off x="77970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4" name="Text Placeholder 4"/>
          <p:cNvSpPr>
            <a:spLocks noGrp="1"/>
          </p:cNvSpPr>
          <p:nvPr>
            <p:ph type="body" sz="quarter" idx="20"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87759812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768983"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5049016"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73290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2088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768983"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5049016"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7329050"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8"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68386594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96310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6310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357201" y="3191932"/>
            <a:ext cx="1191600" cy="1191600"/>
          </a:xfrm>
          <a:prstGeom prst="ellipse">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8"/>
          <p:cNvSpPr>
            <a:spLocks noGrp="1"/>
          </p:cNvSpPr>
          <p:nvPr>
            <p:ph type="body" sz="quarter" idx="15"/>
          </p:nvPr>
        </p:nvSpPr>
        <p:spPr>
          <a:xfrm>
            <a:off x="596310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96310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Right Arrow 2"/>
          <p:cNvSpPr/>
          <p:nvPr userDrawn="1"/>
        </p:nvSpPr>
        <p:spPr>
          <a:xfrm rot="2655894">
            <a:off x="4100849"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1" name="Right Arrow 20"/>
          <p:cNvSpPr/>
          <p:nvPr userDrawn="1"/>
        </p:nvSpPr>
        <p:spPr>
          <a:xfrm rot="18944106" flipH="1">
            <a:off x="5391752"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2" name="Right Arrow 21"/>
          <p:cNvSpPr/>
          <p:nvPr userDrawn="1"/>
        </p:nvSpPr>
        <p:spPr>
          <a:xfrm rot="18944106" flipV="1">
            <a:off x="4100849"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3" name="Right Arrow 22"/>
          <p:cNvSpPr/>
          <p:nvPr userDrawn="1"/>
        </p:nvSpPr>
        <p:spPr>
          <a:xfrm rot="2655894" flipH="1" flipV="1">
            <a:off x="5391752"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4" name="Title 3"/>
          <p:cNvSpPr>
            <a:spLocks noGrp="1"/>
          </p:cNvSpPr>
          <p:nvPr>
            <p:ph type="title"/>
          </p:nvPr>
        </p:nvSpPr>
        <p:spPr/>
        <p:txBody>
          <a:bodyPr/>
          <a:lstStyle/>
          <a:p>
            <a:r>
              <a:rPr lang="de-DE" smtClean="0"/>
              <a:t>Titelmasterformat durch Klicken bearbeiten</a:t>
            </a:r>
            <a:endParaRPr lang="en-GB" dirty="0"/>
          </a:p>
        </p:txBody>
      </p:sp>
      <p:sp>
        <p:nvSpPr>
          <p:cNvPr id="16"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69571562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6" name="Text Placeholder 8"/>
          <p:cNvSpPr>
            <a:spLocks noGrp="1"/>
          </p:cNvSpPr>
          <p:nvPr>
            <p:ph type="body" sz="quarter" idx="21"/>
          </p:nvPr>
        </p:nvSpPr>
        <p:spPr>
          <a:xfrm>
            <a:off x="504390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7" name="Text Placeholder 8"/>
          <p:cNvSpPr>
            <a:spLocks noGrp="1"/>
          </p:cNvSpPr>
          <p:nvPr>
            <p:ph type="body" sz="quarter" idx="22"/>
          </p:nvPr>
        </p:nvSpPr>
        <p:spPr>
          <a:xfrm>
            <a:off x="504390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7"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8553535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4" y="4241200"/>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775459"/>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1" name="Text Placeholder 8"/>
          <p:cNvSpPr>
            <a:spLocks noGrp="1"/>
          </p:cNvSpPr>
          <p:nvPr>
            <p:ph type="body" sz="quarter" idx="15"/>
          </p:nvPr>
        </p:nvSpPr>
        <p:spPr>
          <a:xfrm>
            <a:off x="5054324" y="1428430"/>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054324" y="3890142"/>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241200"/>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3890142"/>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89962797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AD - NO HEADIN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64824" y="3829182"/>
            <a:ext cx="4352225"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422400"/>
            <a:ext cx="4352225"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4" name="Text Placeholder 8"/>
          <p:cNvSpPr>
            <a:spLocks noGrp="1"/>
          </p:cNvSpPr>
          <p:nvPr>
            <p:ph type="body" sz="quarter" idx="17"/>
          </p:nvPr>
        </p:nvSpPr>
        <p:spPr>
          <a:xfrm>
            <a:off x="499450" y="3829182"/>
            <a:ext cx="4361750"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8"/>
          <p:cNvSpPr>
            <a:spLocks noGrp="1"/>
          </p:cNvSpPr>
          <p:nvPr>
            <p:ph type="body" sz="quarter" idx="19"/>
          </p:nvPr>
        </p:nvSpPr>
        <p:spPr>
          <a:xfrm>
            <a:off x="488950" y="1422400"/>
            <a:ext cx="4361750"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6286047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on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38696112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wo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6277108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hre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898144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four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811532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flipH="1">
            <a:off x="0" y="0"/>
            <a:ext cx="9906000" cy="6858000"/>
          </a:xfrm>
          <a:prstGeom prst="rect">
            <a:avLst/>
          </a:prstGeom>
        </p:spPr>
      </p:pic>
      <p:sp>
        <p:nvSpPr>
          <p:cNvPr id="8" name="Title 1"/>
          <p:cNvSpPr>
            <a:spLocks noGrp="1"/>
          </p:cNvSpPr>
          <p:nvPr>
            <p:ph type="ctrTitle" hasCustomPrompt="1"/>
          </p:nvPr>
        </p:nvSpPr>
        <p:spPr>
          <a:xfrm>
            <a:off x="4036911" y="1339200"/>
            <a:ext cx="5440464" cy="3510000"/>
          </a:xfrm>
        </p:spPr>
        <p:txBody>
          <a:bodyPr anchor="t" anchorCtr="0"/>
          <a:lstStyle>
            <a:lvl1pPr algn="l">
              <a:defRPr sz="11000">
                <a:solidFill>
                  <a:schemeClr val="bg1"/>
                </a:solidFill>
              </a:defRPr>
            </a:lvl1pPr>
          </a:lstStyle>
          <a:p>
            <a:r>
              <a:rPr lang="en-GB" dirty="0" smtClean="0"/>
              <a:t>Title slide 3</a:t>
            </a:r>
            <a:br>
              <a:rPr lang="en-GB" dirty="0" smtClean="0"/>
            </a:br>
            <a:r>
              <a:rPr lang="en-GB" dirty="0" smtClean="0"/>
              <a:t>light right vertical image</a:t>
            </a:r>
            <a:endParaRPr lang="en-US" dirty="0"/>
          </a:p>
        </p:txBody>
      </p:sp>
      <p:sp>
        <p:nvSpPr>
          <p:cNvPr id="11" name="Freeform 19"/>
          <p:cNvSpPr>
            <a:spLocks noEditPoints="1"/>
          </p:cNvSpPr>
          <p:nvPr userDrawn="1"/>
        </p:nvSpPr>
        <p:spPr bwMode="auto">
          <a:xfrm>
            <a:off x="4065711"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Text Placeholder 3"/>
          <p:cNvSpPr>
            <a:spLocks noGrp="1"/>
          </p:cNvSpPr>
          <p:nvPr>
            <p:ph type="body" sz="quarter" idx="11"/>
          </p:nvPr>
        </p:nvSpPr>
        <p:spPr>
          <a:xfrm>
            <a:off x="4065711" y="5036400"/>
            <a:ext cx="5411664"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5789235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PORT 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smtClean="0"/>
              <a:t>Titelmasterformat durch Klicken bearbeiten</a:t>
            </a:r>
            <a:endParaRPr lang="en-GB"/>
          </a:p>
        </p:txBody>
      </p:sp>
      <p:sp>
        <p:nvSpPr>
          <p:cNvPr id="16"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7"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8"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Plc,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9"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20" name="Freeform 19"/>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latin typeface="+mn-lt"/>
            </a:endParaRPr>
          </a:p>
        </p:txBody>
      </p:sp>
    </p:spTree>
    <p:extLst>
      <p:ext uri="{BB962C8B-B14F-4D97-AF65-F5344CB8AC3E}">
        <p14:creationId xmlns:p14="http://schemas.microsoft.com/office/powerpoint/2010/main" val="12721035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PORT TITLE CONTENT">
    <p:spTree>
      <p:nvGrpSpPr>
        <p:cNvPr id="1" name=""/>
        <p:cNvGrpSpPr/>
        <p:nvPr/>
      </p:nvGrpSpPr>
      <p:grpSpPr>
        <a:xfrm>
          <a:off x="0" y="0"/>
          <a:ext cx="0" cy="0"/>
          <a:chOff x="0" y="0"/>
          <a:chExt cx="0" cy="0"/>
        </a:xfrm>
      </p:grpSpPr>
      <p:sp>
        <p:nvSpPr>
          <p:cNvPr id="10"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2"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3"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Plc,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5"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16" name="Freeform 15"/>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latin typeface="+mn-lt"/>
            </a:endParaRPr>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17" name="Text Placeholder 5"/>
          <p:cNvSpPr>
            <a:spLocks noGrp="1"/>
          </p:cNvSpPr>
          <p:nvPr>
            <p:ph type="body" sz="quarter" idx="10"/>
          </p:nvPr>
        </p:nvSpPr>
        <p:spPr>
          <a:xfrm>
            <a:off x="488950" y="1422400"/>
            <a:ext cx="8591450" cy="46044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Tree>
    <p:extLst>
      <p:ext uri="{BB962C8B-B14F-4D97-AF65-F5344CB8AC3E}">
        <p14:creationId xmlns:p14="http://schemas.microsoft.com/office/powerpoint/2010/main" val="413690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PORT 2 COLUMN AND COVER LETTER RUNOVER">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7876" y="1177925"/>
            <a:ext cx="4369173"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24"/>
          <p:cNvSpPr>
            <a:spLocks noGrp="1"/>
          </p:cNvSpPr>
          <p:nvPr>
            <p:ph type="body" sz="quarter" idx="15"/>
          </p:nvPr>
        </p:nvSpPr>
        <p:spPr>
          <a:xfrm>
            <a:off x="488950" y="451705"/>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2" name="Freeform 19"/>
          <p:cNvSpPr>
            <a:spLocks noEditPoints="1"/>
          </p:cNvSpPr>
          <p:nvPr userDrawn="1"/>
        </p:nvSpPr>
        <p:spPr bwMode="auto">
          <a:xfrm>
            <a:off x="488950"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916271"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91227293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ACT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flipH="1">
            <a:off x="0" y="0"/>
            <a:ext cx="9906000" cy="6858000"/>
          </a:xfrm>
          <a:prstGeom prst="rect">
            <a:avLst/>
          </a:prstGeom>
        </p:spPr>
      </p:pic>
      <p:sp>
        <p:nvSpPr>
          <p:cNvPr id="7" name="Text Placeholder 6"/>
          <p:cNvSpPr>
            <a:spLocks noGrp="1"/>
          </p:cNvSpPr>
          <p:nvPr>
            <p:ph type="body" sz="quarter" idx="10"/>
          </p:nvPr>
        </p:nvSpPr>
        <p:spPr>
          <a:xfrm>
            <a:off x="4659580" y="820739"/>
            <a:ext cx="3739884" cy="754061"/>
          </a:xfrm>
        </p:spPr>
        <p:txBody>
          <a:bodyPr/>
          <a:lstStyle>
            <a:lvl1pPr>
              <a:lnSpc>
                <a:spcPct val="70000"/>
              </a:lnSpc>
              <a:defRPr sz="4400" b="0">
                <a:solidFill>
                  <a:schemeClr val="bg1"/>
                </a:solidFill>
                <a:latin typeface="+mj-lt"/>
              </a:defRPr>
            </a:lvl1pPr>
          </a:lstStyle>
          <a:p>
            <a:pPr lvl="0"/>
            <a:r>
              <a:rPr lang="de-DE" smtClean="0"/>
              <a:t>Textmasterformat bearbeiten</a:t>
            </a:r>
          </a:p>
        </p:txBody>
      </p:sp>
      <p:sp>
        <p:nvSpPr>
          <p:cNvPr id="9" name="Text Placeholder 10"/>
          <p:cNvSpPr>
            <a:spLocks noGrp="1"/>
          </p:cNvSpPr>
          <p:nvPr>
            <p:ph type="body" sz="quarter" idx="11"/>
          </p:nvPr>
        </p:nvSpPr>
        <p:spPr>
          <a:xfrm>
            <a:off x="4659580" y="1435735"/>
            <a:ext cx="3740400" cy="32670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465958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6785921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17" name="Freeform 19"/>
          <p:cNvSpPr>
            <a:spLocks noEditPoints="1"/>
          </p:cNvSpPr>
          <p:nvPr userDrawn="1"/>
        </p:nvSpPr>
        <p:spPr bwMode="auto">
          <a:xfrm>
            <a:off x="1715999"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ext Placeholder 2"/>
          <p:cNvSpPr>
            <a:spLocks noGrp="1"/>
          </p:cNvSpPr>
          <p:nvPr>
            <p:ph type="body" sz="quarter" idx="11"/>
          </p:nvPr>
        </p:nvSpPr>
        <p:spPr>
          <a:xfrm>
            <a:off x="1715999" y="51133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18" name="Text Placeholder 2"/>
          <p:cNvSpPr>
            <a:spLocks noGrp="1"/>
          </p:cNvSpPr>
          <p:nvPr>
            <p:ph type="body" sz="quarter" idx="12"/>
          </p:nvPr>
        </p:nvSpPr>
        <p:spPr>
          <a:xfrm>
            <a:off x="1715999" y="5902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19" name="Text Placeholder 2"/>
          <p:cNvSpPr>
            <a:spLocks noGrp="1"/>
          </p:cNvSpPr>
          <p:nvPr>
            <p:ph type="body" sz="quarter" idx="13"/>
          </p:nvPr>
        </p:nvSpPr>
        <p:spPr>
          <a:xfrm>
            <a:off x="1715999" y="43132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20" name="Text Placeholder 2"/>
          <p:cNvSpPr>
            <a:spLocks noGrp="1"/>
          </p:cNvSpPr>
          <p:nvPr>
            <p:ph type="body" sz="quarter" idx="14"/>
          </p:nvPr>
        </p:nvSpPr>
        <p:spPr>
          <a:xfrm>
            <a:off x="1715999"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21" name="Text Placeholder 2"/>
          <p:cNvSpPr>
            <a:spLocks noGrp="1"/>
          </p:cNvSpPr>
          <p:nvPr>
            <p:ph type="body" sz="quarter" idx="15"/>
          </p:nvPr>
        </p:nvSpPr>
        <p:spPr>
          <a:xfrm>
            <a:off x="4775338"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75338" y="3442555"/>
            <a:ext cx="1325883" cy="381001"/>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15999" y="3442555"/>
            <a:ext cx="2523749" cy="384049"/>
          </a:xfrm>
          <a:prstGeom prst="rect">
            <a:avLst/>
          </a:prstGeom>
        </p:spPr>
      </p:pic>
    </p:spTree>
    <p:extLst>
      <p:ext uri="{BB962C8B-B14F-4D97-AF65-F5344CB8AC3E}">
        <p14:creationId xmlns:p14="http://schemas.microsoft.com/office/powerpoint/2010/main" val="326727365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_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36" name="Text Placeholder 2"/>
          <p:cNvSpPr>
            <a:spLocks noGrp="1"/>
          </p:cNvSpPr>
          <p:nvPr>
            <p:ph type="body" sz="quarter" idx="13" hasCustomPrompt="1"/>
          </p:nvPr>
        </p:nvSpPr>
        <p:spPr>
          <a:xfrm>
            <a:off x="1715999" y="5469180"/>
            <a:ext cx="7375525" cy="554037"/>
          </a:xfrm>
        </p:spPr>
        <p:txBody>
          <a:bodyPr anchor="b"/>
          <a:lstStyle>
            <a:lvl1pPr>
              <a:buFontTx/>
              <a:buNone/>
              <a:defRPr sz="600" b="0">
                <a:solidFill>
                  <a:schemeClr val="tx1">
                    <a:lumMod val="65000"/>
                    <a:lumOff val="35000"/>
                  </a:schemeClr>
                </a:solidFill>
              </a:defRPr>
            </a:lvl1pPr>
            <a:lvl2pPr>
              <a:buFontTx/>
              <a:buNone/>
              <a:defRPr sz="600" b="0">
                <a:solidFill>
                  <a:schemeClr val="tx1">
                    <a:lumMod val="65000"/>
                    <a:lumOff val="3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Internal use only. </a:t>
            </a:r>
          </a:p>
          <a:p>
            <a:pPr lvl="0"/>
            <a:r>
              <a:rPr lang="en-US" dirty="0" smtClean="0"/>
              <a:t>© 2016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a:t>
            </a:r>
          </a:p>
        </p:txBody>
      </p:sp>
      <p:sp>
        <p:nvSpPr>
          <p:cNvPr id="37" name="Title 2"/>
          <p:cNvSpPr>
            <a:spLocks noGrp="1"/>
          </p:cNvSpPr>
          <p:nvPr>
            <p:ph type="title"/>
          </p:nvPr>
        </p:nvSpPr>
        <p:spPr>
          <a:xfrm>
            <a:off x="1715999" y="451575"/>
            <a:ext cx="7701051" cy="723600"/>
          </a:xfrm>
        </p:spPr>
        <p:txBody>
          <a:bodyPr/>
          <a:lstStyle/>
          <a:p>
            <a:r>
              <a:rPr lang="de-DE" dirty="0" smtClean="0"/>
              <a:t>Titelmasterformat durch Klicken bearbeiten</a:t>
            </a:r>
            <a:endParaRPr lang="en-GB" dirty="0"/>
          </a:p>
        </p:txBody>
      </p:sp>
      <p:sp>
        <p:nvSpPr>
          <p:cNvPr id="38" name="Text Placeholder 7"/>
          <p:cNvSpPr>
            <a:spLocks noGrp="1"/>
          </p:cNvSpPr>
          <p:nvPr>
            <p:ph type="body" sz="quarter" idx="29"/>
          </p:nvPr>
        </p:nvSpPr>
        <p:spPr>
          <a:xfrm>
            <a:off x="1715999" y="2008722"/>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
        <p:nvSpPr>
          <p:cNvPr id="39" name="Text Placeholder 7"/>
          <p:cNvSpPr>
            <a:spLocks noGrp="1"/>
          </p:cNvSpPr>
          <p:nvPr>
            <p:ph type="body" sz="quarter" idx="28"/>
          </p:nvPr>
        </p:nvSpPr>
        <p:spPr>
          <a:xfrm>
            <a:off x="5817050" y="2008721"/>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Tree>
    <p:extLst>
      <p:ext uri="{BB962C8B-B14F-4D97-AF65-F5344CB8AC3E}">
        <p14:creationId xmlns:p14="http://schemas.microsoft.com/office/powerpoint/2010/main" val="339452183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US" dirty="0" smtClean="0"/>
              <a:t>Title slide 5</a:t>
            </a:r>
            <a:br>
              <a:rPr lang="en-US" dirty="0" smtClean="0"/>
            </a:br>
            <a:r>
              <a:rPr lang="en-US" dirty="0" smtClean="0"/>
              <a:t>singular </a:t>
            </a:r>
            <a:br>
              <a:rPr lang="en-US" dirty="0" smtClean="0"/>
            </a:br>
            <a:r>
              <a:rPr lang="en-US" dirty="0" smtClean="0"/>
              <a:t>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9"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34949900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Title slide 6</a:t>
            </a:r>
            <a:br>
              <a:rPr lang="en-GB" dirty="0" smtClean="0"/>
            </a:br>
            <a:r>
              <a:rPr lang="en-GB" dirty="0" smtClean="0"/>
              <a:t>no 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9"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7"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4487233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7877"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74866397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6663"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35710271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ter important notice combinatio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6662" y="1177925"/>
            <a:ext cx="4370387"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
        <p:nvSpPr>
          <p:cNvPr id="11"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Tree>
    <p:extLst>
      <p:ext uri="{BB962C8B-B14F-4D97-AF65-F5344CB8AC3E}">
        <p14:creationId xmlns:p14="http://schemas.microsoft.com/office/powerpoint/2010/main" val="18735875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1100" y="1422400"/>
            <a:ext cx="696595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98829708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54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 Placeholder 2"/>
          <p:cNvSpPr>
            <a:spLocks noGrp="1"/>
          </p:cNvSpPr>
          <p:nvPr>
            <p:ph type="body" idx="1"/>
          </p:nvPr>
        </p:nvSpPr>
        <p:spPr>
          <a:xfrm>
            <a:off x="488951" y="1422400"/>
            <a:ext cx="8918242" cy="4604400"/>
          </a:xfrm>
          <a:prstGeom prst="rect">
            <a:avLst/>
          </a:prstGeom>
        </p:spPr>
        <p:txBody>
          <a:bodyPr vert="horz" lIns="0" tIns="0" rIns="0" bIns="0" rtlCol="0" anchor="t" anchorCtr="0">
            <a:noAutofit/>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p:txBody>
      </p:sp>
      <p:sp>
        <p:nvSpPr>
          <p:cNvPr id="29" name="Shape 8"/>
          <p:cNvSpPr txBox="1">
            <a:spLocks/>
          </p:cNvSpPr>
          <p:nvPr userDrawn="1"/>
        </p:nvSpPr>
        <p:spPr>
          <a:xfrm>
            <a:off x="9027000" y="6320118"/>
            <a:ext cx="390050"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00" smtClean="0">
                <a:solidFill>
                  <a:schemeClr val="tx2"/>
                </a:solidFill>
                <a:latin typeface="+mn-lt"/>
                <a:ea typeface="Arial"/>
                <a:cs typeface="Arial" panose="020B0604020202020204" pitchFamily="34" charset="0"/>
              </a:rPr>
              <a:pPr algn="r"/>
              <a:t>‹Nr.›</a:t>
            </a:fld>
            <a:endParaRPr lang="en-US" sz="900" dirty="0">
              <a:solidFill>
                <a:schemeClr val="tx2"/>
              </a:solidFill>
              <a:latin typeface="+mn-lt"/>
              <a:ea typeface="Arial"/>
              <a:cs typeface="Arial" panose="020B0604020202020204" pitchFamily="34" charset="0"/>
            </a:endParaRPr>
          </a:p>
        </p:txBody>
      </p:sp>
      <p:sp>
        <p:nvSpPr>
          <p:cNvPr id="27" name="Freeform 19"/>
          <p:cNvSpPr>
            <a:spLocks noEditPoints="1"/>
          </p:cNvSpPr>
          <p:nvPr userDrawn="1"/>
        </p:nvSpPr>
        <p:spPr bwMode="auto">
          <a:xfrm>
            <a:off x="48895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TextBox 29"/>
          <p:cNvSpPr txBox="1"/>
          <p:nvPr userDrawn="1">
            <p:custDataLst>
              <p:tags r:id="rId37"/>
            </p:custDataLst>
          </p:nvPr>
        </p:nvSpPr>
        <p:spPr>
          <a:xfrm>
            <a:off x="1548364" y="6320118"/>
            <a:ext cx="68445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smtClean="0">
                <a:solidFill>
                  <a:schemeClr val="bg1">
                    <a:lumMod val="65000"/>
                  </a:schemeClr>
                </a:solidFill>
                <a:latin typeface="+mn-lt"/>
                <a:ea typeface="+mn-ea"/>
                <a:cs typeface="+mn-cs"/>
              </a:rPr>
              <a:t>© 2017 KPMG International Cooperative (“KPMG International”). KPMG International provides no client services and is a Swiss entity with which the independent member firms of the KPMG network are affiliated.</a:t>
            </a:r>
            <a:endParaRPr lang="en-US"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61" r:id="rId1"/>
    <p:sldLayoutId id="2147483710" r:id="rId2"/>
    <p:sldLayoutId id="2147483709" r:id="rId3"/>
    <p:sldLayoutId id="2147483675" r:id="rId4"/>
    <p:sldLayoutId id="2147483680" r:id="rId5"/>
    <p:sldLayoutId id="2147483707" r:id="rId6"/>
    <p:sldLayoutId id="2147483729" r:id="rId7"/>
    <p:sldLayoutId id="2147483708" r:id="rId8"/>
    <p:sldLayoutId id="2147483723" r:id="rId9"/>
    <p:sldLayoutId id="2147483726" r:id="rId10"/>
    <p:sldLayoutId id="2147483730" r:id="rId11"/>
    <p:sldLayoutId id="2147483666" r:id="rId12"/>
    <p:sldLayoutId id="2147483705" r:id="rId13"/>
    <p:sldLayoutId id="2147483689" r:id="rId14"/>
    <p:sldLayoutId id="2147483690" r:id="rId15"/>
    <p:sldLayoutId id="2147483692" r:id="rId16"/>
    <p:sldLayoutId id="2147483693" r:id="rId17"/>
    <p:sldLayoutId id="2147483694" r:id="rId18"/>
    <p:sldLayoutId id="2147483695" r:id="rId19"/>
    <p:sldLayoutId id="2147483701" r:id="rId20"/>
    <p:sldLayoutId id="2147483697" r:id="rId21"/>
    <p:sldLayoutId id="2147483698" r:id="rId22"/>
    <p:sldLayoutId id="2147483699" r:id="rId23"/>
    <p:sldLayoutId id="2147483711" r:id="rId24"/>
    <p:sldLayoutId id="2147483712" r:id="rId25"/>
    <p:sldLayoutId id="2147483682" r:id="rId26"/>
    <p:sldLayoutId id="2147483683" r:id="rId27"/>
    <p:sldLayoutId id="2147483684" r:id="rId28"/>
    <p:sldLayoutId id="2147483685" r:id="rId29"/>
    <p:sldLayoutId id="2147483720" r:id="rId30"/>
    <p:sldLayoutId id="2147483721" r:id="rId31"/>
    <p:sldLayoutId id="2147483719" r:id="rId32"/>
    <p:sldLayoutId id="2147483728" r:id="rId33"/>
    <p:sldLayoutId id="2147483667" r:id="rId34"/>
    <p:sldLayoutId id="2147483732" r:id="rId35"/>
  </p:sldLayoutIdLst>
  <p:timing>
    <p:tnLst>
      <p:par>
        <p:cTn id="1" dur="indefinite" restart="never" nodeType="tmRoot"/>
      </p:par>
    </p:tnLst>
  </p:timing>
  <p:txStyles>
    <p:titleStyle>
      <a:lvl1pPr algn="l" defTabSz="914400"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1" userDrawn="1">
          <p15:clr>
            <a:srgbClr val="F26B43"/>
          </p15:clr>
        </p15:guide>
        <p15:guide id="9" pos="317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vmlDrawing" Target="../drawings/vmlDrawing1.vml"/><Relationship Id="rId5" Type="http://schemas.openxmlformats.org/officeDocument/2006/relationships/image" Target="../media/image5.wmf"/><Relationship Id="rId4" Type="http://schemas.openxmlformats.org/officeDocument/2006/relationships/package" Target="../embeddings/Microsoft_Excel-Arbeitsblatt1.xlsx"/></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10.xml"/><Relationship Id="rId13" Type="http://schemas.openxmlformats.org/officeDocument/2006/relationships/image" Target="../media/image13.png"/><Relationship Id="rId3" Type="http://schemas.openxmlformats.org/officeDocument/2006/relationships/tags" Target="../tags/tag26.xml"/><Relationship Id="rId7" Type="http://schemas.openxmlformats.org/officeDocument/2006/relationships/slideLayout" Target="../slideLayouts/slideLayout11.xml"/><Relationship Id="rId12" Type="http://schemas.openxmlformats.org/officeDocument/2006/relationships/image" Target="../media/image12.png"/><Relationship Id="rId2" Type="http://schemas.openxmlformats.org/officeDocument/2006/relationships/tags" Target="../tags/tag25.xml"/><Relationship Id="rId16" Type="http://schemas.openxmlformats.org/officeDocument/2006/relationships/image" Target="../media/image22.png"/><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image" Target="../media/image11.png"/><Relationship Id="rId5" Type="http://schemas.openxmlformats.org/officeDocument/2006/relationships/tags" Target="../tags/tag28.xml"/><Relationship Id="rId15" Type="http://schemas.openxmlformats.org/officeDocument/2006/relationships/image" Target="../media/image15.png"/><Relationship Id="rId10" Type="http://schemas.openxmlformats.org/officeDocument/2006/relationships/image" Target="../media/image10.png"/><Relationship Id="rId4" Type="http://schemas.openxmlformats.org/officeDocument/2006/relationships/tags" Target="../tags/tag27.xml"/><Relationship Id="rId9" Type="http://schemas.openxmlformats.org/officeDocument/2006/relationships/image" Target="../media/image21.emf"/><Relationship Id="rId14" Type="http://schemas.openxmlformats.org/officeDocument/2006/relationships/image" Target="../media/image14.png"/></Relationships>
</file>

<file path=ppt/slides/_rels/slide11.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slideLayout" Target="../slideLayouts/slideLayout11.xml"/><Relationship Id="rId18" Type="http://schemas.openxmlformats.org/officeDocument/2006/relationships/image" Target="../media/image12.png"/><Relationship Id="rId3" Type="http://schemas.openxmlformats.org/officeDocument/2006/relationships/tags" Target="../tags/tag32.xml"/><Relationship Id="rId21" Type="http://schemas.openxmlformats.org/officeDocument/2006/relationships/image" Target="../media/image15.png"/><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image" Target="../media/image11.png"/><Relationship Id="rId2" Type="http://schemas.openxmlformats.org/officeDocument/2006/relationships/tags" Target="../tags/tag31.xml"/><Relationship Id="rId16" Type="http://schemas.openxmlformats.org/officeDocument/2006/relationships/image" Target="../media/image10.png"/><Relationship Id="rId20" Type="http://schemas.openxmlformats.org/officeDocument/2006/relationships/image" Target="../media/image14.png"/><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image" Target="../media/image26.png"/><Relationship Id="rId5" Type="http://schemas.openxmlformats.org/officeDocument/2006/relationships/tags" Target="../tags/tag34.xml"/><Relationship Id="rId15" Type="http://schemas.openxmlformats.org/officeDocument/2006/relationships/image" Target="../media/image23.emf"/><Relationship Id="rId23" Type="http://schemas.openxmlformats.org/officeDocument/2006/relationships/image" Target="../media/image25.png"/><Relationship Id="rId10" Type="http://schemas.openxmlformats.org/officeDocument/2006/relationships/tags" Target="../tags/tag39.xml"/><Relationship Id="rId19" Type="http://schemas.openxmlformats.org/officeDocument/2006/relationships/image" Target="../media/image13.png"/><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notesSlide" Target="../notesSlides/notesSlide11.xml"/><Relationship Id="rId22" Type="http://schemas.openxmlformats.org/officeDocument/2006/relationships/image" Target="../media/image24.emf"/></Relationships>
</file>

<file path=ppt/slides/_rels/slide12.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image" Target="../media/image10.png"/><Relationship Id="rId18" Type="http://schemas.openxmlformats.org/officeDocument/2006/relationships/image" Target="../media/image15.png"/><Relationship Id="rId3" Type="http://schemas.openxmlformats.org/officeDocument/2006/relationships/tags" Target="../tags/tag44.xml"/><Relationship Id="rId21" Type="http://schemas.openxmlformats.org/officeDocument/2006/relationships/image" Target="../media/image29.png"/><Relationship Id="rId7" Type="http://schemas.openxmlformats.org/officeDocument/2006/relationships/tags" Target="../tags/tag48.xml"/><Relationship Id="rId12" Type="http://schemas.openxmlformats.org/officeDocument/2006/relationships/notesSlide" Target="../notesSlides/notesSlide12.xml"/><Relationship Id="rId17" Type="http://schemas.openxmlformats.org/officeDocument/2006/relationships/image" Target="../media/image14.png"/><Relationship Id="rId2" Type="http://schemas.openxmlformats.org/officeDocument/2006/relationships/tags" Target="../tags/tag43.xml"/><Relationship Id="rId16" Type="http://schemas.openxmlformats.org/officeDocument/2006/relationships/image" Target="../media/image13.png"/><Relationship Id="rId20" Type="http://schemas.openxmlformats.org/officeDocument/2006/relationships/image" Target="../media/image28.emf"/><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slideLayout" Target="../slideLayouts/slideLayout11.xml"/><Relationship Id="rId5" Type="http://schemas.openxmlformats.org/officeDocument/2006/relationships/tags" Target="../tags/tag46.xml"/><Relationship Id="rId15" Type="http://schemas.openxmlformats.org/officeDocument/2006/relationships/image" Target="../media/image12.png"/><Relationship Id="rId10" Type="http://schemas.openxmlformats.org/officeDocument/2006/relationships/tags" Target="../tags/tag51.xml"/><Relationship Id="rId19" Type="http://schemas.openxmlformats.org/officeDocument/2006/relationships/image" Target="../media/image27.emf"/><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image" Target="../media/image11.png"/><Relationship Id="rId22" Type="http://schemas.openxmlformats.org/officeDocument/2006/relationships/image" Target="../media/image30.png"/></Relationships>
</file>

<file path=ppt/slides/_rels/slide13.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10.png"/><Relationship Id="rId18" Type="http://schemas.openxmlformats.org/officeDocument/2006/relationships/image" Target="../media/image27.emf"/><Relationship Id="rId3" Type="http://schemas.openxmlformats.org/officeDocument/2006/relationships/tags" Target="../tags/tag54.xml"/><Relationship Id="rId21" Type="http://schemas.openxmlformats.org/officeDocument/2006/relationships/image" Target="../media/image30.png"/><Relationship Id="rId7" Type="http://schemas.openxmlformats.org/officeDocument/2006/relationships/tags" Target="../tags/tag58.xml"/><Relationship Id="rId12" Type="http://schemas.openxmlformats.org/officeDocument/2006/relationships/notesSlide" Target="../notesSlides/notesSlide13.xml"/><Relationship Id="rId17" Type="http://schemas.openxmlformats.org/officeDocument/2006/relationships/image" Target="../media/image14.png"/><Relationship Id="rId2" Type="http://schemas.openxmlformats.org/officeDocument/2006/relationships/tags" Target="../tags/tag53.xml"/><Relationship Id="rId16" Type="http://schemas.openxmlformats.org/officeDocument/2006/relationships/image" Target="../media/image13.png"/><Relationship Id="rId20" Type="http://schemas.openxmlformats.org/officeDocument/2006/relationships/image" Target="../media/image15.png"/><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slideLayout" Target="../slideLayouts/slideLayout11.xml"/><Relationship Id="rId5" Type="http://schemas.openxmlformats.org/officeDocument/2006/relationships/tags" Target="../tags/tag56.xml"/><Relationship Id="rId15" Type="http://schemas.openxmlformats.org/officeDocument/2006/relationships/image" Target="../media/image12.png"/><Relationship Id="rId10" Type="http://schemas.openxmlformats.org/officeDocument/2006/relationships/tags" Target="../tags/tag61.xml"/><Relationship Id="rId19" Type="http://schemas.openxmlformats.org/officeDocument/2006/relationships/image" Target="../media/image31.emf"/><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image" Target="../media/image11.png"/><Relationship Id="rId22" Type="http://schemas.openxmlformats.org/officeDocument/2006/relationships/image" Target="../media/image32.png"/></Relationships>
</file>

<file path=ppt/slides/_rels/slide14.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tags" Target="../tags/tag74.xml"/><Relationship Id="rId18" Type="http://schemas.openxmlformats.org/officeDocument/2006/relationships/image" Target="../media/image11.png"/><Relationship Id="rId26" Type="http://schemas.openxmlformats.org/officeDocument/2006/relationships/image" Target="../media/image36.png"/><Relationship Id="rId3" Type="http://schemas.openxmlformats.org/officeDocument/2006/relationships/tags" Target="../tags/tag64.xml"/><Relationship Id="rId21" Type="http://schemas.openxmlformats.org/officeDocument/2006/relationships/image" Target="../media/image14.png"/><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image" Target="../media/image10.png"/><Relationship Id="rId25" Type="http://schemas.openxmlformats.org/officeDocument/2006/relationships/image" Target="../media/image35.png"/><Relationship Id="rId2" Type="http://schemas.openxmlformats.org/officeDocument/2006/relationships/tags" Target="../tags/tag63.xml"/><Relationship Id="rId16" Type="http://schemas.openxmlformats.org/officeDocument/2006/relationships/notesSlide" Target="../notesSlides/notesSlide14.xml"/><Relationship Id="rId20" Type="http://schemas.openxmlformats.org/officeDocument/2006/relationships/image" Target="../media/image13.png"/><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tags" Target="../tags/tag72.xml"/><Relationship Id="rId24" Type="http://schemas.openxmlformats.org/officeDocument/2006/relationships/image" Target="../media/image34.emf"/><Relationship Id="rId5" Type="http://schemas.openxmlformats.org/officeDocument/2006/relationships/tags" Target="../tags/tag66.xml"/><Relationship Id="rId15" Type="http://schemas.openxmlformats.org/officeDocument/2006/relationships/slideLayout" Target="../slideLayouts/slideLayout11.xml"/><Relationship Id="rId23" Type="http://schemas.openxmlformats.org/officeDocument/2006/relationships/image" Target="../media/image33.emf"/><Relationship Id="rId10" Type="http://schemas.openxmlformats.org/officeDocument/2006/relationships/tags" Target="../tags/tag71.xml"/><Relationship Id="rId19" Type="http://schemas.openxmlformats.org/officeDocument/2006/relationships/image" Target="../media/image12.png"/><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 Id="rId22" Type="http://schemas.openxmlformats.org/officeDocument/2006/relationships/image" Target="../media/image15.png"/></Relationships>
</file>

<file path=ppt/slides/_rels/slide15.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37.emf"/><Relationship Id="rId3" Type="http://schemas.openxmlformats.org/officeDocument/2006/relationships/tags" Target="../tags/tag78.xml"/><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notesSlide" Target="../notesSlides/notesSlide15.xml"/><Relationship Id="rId11" Type="http://schemas.openxmlformats.org/officeDocument/2006/relationships/image" Target="../media/image14.png"/><Relationship Id="rId5" Type="http://schemas.openxmlformats.org/officeDocument/2006/relationships/slideLayout" Target="../slideLayouts/slideLayout11.xml"/><Relationship Id="rId10" Type="http://schemas.openxmlformats.org/officeDocument/2006/relationships/image" Target="../media/image13.png"/><Relationship Id="rId4" Type="http://schemas.openxmlformats.org/officeDocument/2006/relationships/tags" Target="../tags/tag79.xml"/><Relationship Id="rId9" Type="http://schemas.openxmlformats.org/officeDocument/2006/relationships/image" Target="../media/image12.png"/><Relationship Id="rId14" Type="http://schemas.openxmlformats.org/officeDocument/2006/relationships/image" Target="../media/image38.png"/></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13.png"/><Relationship Id="rId18" Type="http://schemas.openxmlformats.org/officeDocument/2006/relationships/image" Target="../media/image41.png"/><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image" Target="../media/image12.png"/><Relationship Id="rId17" Type="http://schemas.openxmlformats.org/officeDocument/2006/relationships/image" Target="../media/image40.png"/><Relationship Id="rId2" Type="http://schemas.openxmlformats.org/officeDocument/2006/relationships/tags" Target="../tags/tag81.xml"/><Relationship Id="rId16" Type="http://schemas.openxmlformats.org/officeDocument/2006/relationships/image" Target="../media/image39.emf"/><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image" Target="../media/image11.png"/><Relationship Id="rId5" Type="http://schemas.openxmlformats.org/officeDocument/2006/relationships/tags" Target="../tags/tag84.xml"/><Relationship Id="rId15" Type="http://schemas.openxmlformats.org/officeDocument/2006/relationships/image" Target="../media/image15.png"/><Relationship Id="rId10" Type="http://schemas.openxmlformats.org/officeDocument/2006/relationships/image" Target="../media/image10.png"/><Relationship Id="rId19" Type="http://schemas.openxmlformats.org/officeDocument/2006/relationships/image" Target="../media/image42.emf"/><Relationship Id="rId4" Type="http://schemas.openxmlformats.org/officeDocument/2006/relationships/tags" Target="../tags/tag83.xml"/><Relationship Id="rId9" Type="http://schemas.openxmlformats.org/officeDocument/2006/relationships/notesSlide" Target="../notesSlides/notesSlide16.xml"/><Relationship Id="rId14" Type="http://schemas.openxmlformats.org/officeDocument/2006/relationships/image" Target="../media/image14.png"/></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7.xml"/><Relationship Id="rId13" Type="http://schemas.openxmlformats.org/officeDocument/2006/relationships/image" Target="../media/image14.png"/><Relationship Id="rId18" Type="http://schemas.openxmlformats.org/officeDocument/2006/relationships/image" Target="../media/image46.png"/><Relationship Id="rId3" Type="http://schemas.openxmlformats.org/officeDocument/2006/relationships/tags" Target="../tags/tag89.xml"/><Relationship Id="rId7" Type="http://schemas.openxmlformats.org/officeDocument/2006/relationships/slideLayout" Target="../slideLayouts/slideLayout11.xml"/><Relationship Id="rId12" Type="http://schemas.openxmlformats.org/officeDocument/2006/relationships/image" Target="../media/image13.png"/><Relationship Id="rId17" Type="http://schemas.openxmlformats.org/officeDocument/2006/relationships/image" Target="../media/image45.png"/><Relationship Id="rId2" Type="http://schemas.openxmlformats.org/officeDocument/2006/relationships/tags" Target="../tags/tag88.xml"/><Relationship Id="rId16" Type="http://schemas.openxmlformats.org/officeDocument/2006/relationships/image" Target="../media/image44.emf"/><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image" Target="../media/image12.png"/><Relationship Id="rId5" Type="http://schemas.openxmlformats.org/officeDocument/2006/relationships/tags" Target="../tags/tag91.xml"/><Relationship Id="rId15" Type="http://schemas.openxmlformats.org/officeDocument/2006/relationships/image" Target="../media/image43.emf"/><Relationship Id="rId10" Type="http://schemas.openxmlformats.org/officeDocument/2006/relationships/image" Target="../media/image11.png"/><Relationship Id="rId4" Type="http://schemas.openxmlformats.org/officeDocument/2006/relationships/tags" Target="../tags/tag90.xml"/><Relationship Id="rId9" Type="http://schemas.openxmlformats.org/officeDocument/2006/relationships/image" Target="../media/image10.png"/><Relationship Id="rId14" Type="http://schemas.openxmlformats.org/officeDocument/2006/relationships/image" Target="../media/image15.png"/></Relationships>
</file>

<file path=ppt/slides/_rels/slide18.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openxmlformats.org/officeDocument/2006/relationships/image" Target="../media/image12.png"/><Relationship Id="rId3" Type="http://schemas.openxmlformats.org/officeDocument/2006/relationships/tags" Target="../tags/tag95.xml"/><Relationship Id="rId21" Type="http://schemas.openxmlformats.org/officeDocument/2006/relationships/image" Target="../media/image15.png"/><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image" Target="../media/image11.png"/><Relationship Id="rId25" Type="http://schemas.openxmlformats.org/officeDocument/2006/relationships/image" Target="../media/image50.png"/><Relationship Id="rId2" Type="http://schemas.openxmlformats.org/officeDocument/2006/relationships/tags" Target="../tags/tag94.xml"/><Relationship Id="rId16" Type="http://schemas.openxmlformats.org/officeDocument/2006/relationships/image" Target="../media/image10.png"/><Relationship Id="rId20" Type="http://schemas.openxmlformats.org/officeDocument/2006/relationships/image" Target="../media/image14.png"/><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tags" Target="../tags/tag103.xml"/><Relationship Id="rId24" Type="http://schemas.openxmlformats.org/officeDocument/2006/relationships/image" Target="../media/image49.png"/><Relationship Id="rId5" Type="http://schemas.openxmlformats.org/officeDocument/2006/relationships/tags" Target="../tags/tag97.xml"/><Relationship Id="rId15" Type="http://schemas.openxmlformats.org/officeDocument/2006/relationships/notesSlide" Target="../notesSlides/notesSlide18.xml"/><Relationship Id="rId23" Type="http://schemas.openxmlformats.org/officeDocument/2006/relationships/image" Target="../media/image48.emf"/><Relationship Id="rId10" Type="http://schemas.openxmlformats.org/officeDocument/2006/relationships/tags" Target="../tags/tag102.xml"/><Relationship Id="rId19" Type="http://schemas.openxmlformats.org/officeDocument/2006/relationships/image" Target="../media/image13.png"/><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slideLayout" Target="../slideLayouts/slideLayout11.xml"/><Relationship Id="rId22" Type="http://schemas.openxmlformats.org/officeDocument/2006/relationships/image" Target="../media/image47.emf"/></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9.xml"/><Relationship Id="rId13" Type="http://schemas.openxmlformats.org/officeDocument/2006/relationships/image" Target="../media/image14.png"/><Relationship Id="rId18" Type="http://schemas.openxmlformats.org/officeDocument/2006/relationships/image" Target="../media/image54.png"/><Relationship Id="rId3" Type="http://schemas.openxmlformats.org/officeDocument/2006/relationships/tags" Target="../tags/tag108.xml"/><Relationship Id="rId7" Type="http://schemas.openxmlformats.org/officeDocument/2006/relationships/slideLayout" Target="../slideLayouts/slideLayout11.xml"/><Relationship Id="rId12" Type="http://schemas.openxmlformats.org/officeDocument/2006/relationships/image" Target="../media/image13.png"/><Relationship Id="rId17" Type="http://schemas.openxmlformats.org/officeDocument/2006/relationships/image" Target="../media/image53.png"/><Relationship Id="rId2" Type="http://schemas.openxmlformats.org/officeDocument/2006/relationships/tags" Target="../tags/tag107.xml"/><Relationship Id="rId16" Type="http://schemas.openxmlformats.org/officeDocument/2006/relationships/image" Target="../media/image52.emf"/><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image" Target="../media/image12.png"/><Relationship Id="rId5" Type="http://schemas.openxmlformats.org/officeDocument/2006/relationships/tags" Target="../tags/tag110.xml"/><Relationship Id="rId15" Type="http://schemas.openxmlformats.org/officeDocument/2006/relationships/image" Target="../media/image51.emf"/><Relationship Id="rId10" Type="http://schemas.openxmlformats.org/officeDocument/2006/relationships/image" Target="../media/image11.png"/><Relationship Id="rId4" Type="http://schemas.openxmlformats.org/officeDocument/2006/relationships/tags" Target="../tags/tag109.xml"/><Relationship Id="rId9" Type="http://schemas.openxmlformats.org/officeDocument/2006/relationships/image" Target="../media/image10.png"/><Relationship Id="rId14" Type="http://schemas.openxmlformats.org/officeDocument/2006/relationships/image" Target="../media/image1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tags" Target="../tags/tag114.xml"/><Relationship Id="rId7" Type="http://schemas.openxmlformats.org/officeDocument/2006/relationships/notesSlide" Target="../notesSlides/notesSlide20.xml"/><Relationship Id="rId12" Type="http://schemas.openxmlformats.org/officeDocument/2006/relationships/image" Target="../media/image14.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Layout" Target="../slideLayouts/slideLayout11.xml"/><Relationship Id="rId11" Type="http://schemas.openxmlformats.org/officeDocument/2006/relationships/image" Target="../media/image13.png"/><Relationship Id="rId5" Type="http://schemas.openxmlformats.org/officeDocument/2006/relationships/tags" Target="../tags/tag116.xml"/><Relationship Id="rId15" Type="http://schemas.openxmlformats.org/officeDocument/2006/relationships/image" Target="../media/image56.png"/><Relationship Id="rId10" Type="http://schemas.openxmlformats.org/officeDocument/2006/relationships/image" Target="../media/image12.png"/><Relationship Id="rId4" Type="http://schemas.openxmlformats.org/officeDocument/2006/relationships/tags" Target="../tags/tag115.xml"/><Relationship Id="rId9" Type="http://schemas.openxmlformats.org/officeDocument/2006/relationships/image" Target="../media/image11.png"/><Relationship Id="rId14" Type="http://schemas.openxmlformats.org/officeDocument/2006/relationships/image" Target="../media/image55.emf"/></Relationships>
</file>

<file path=ppt/slides/_rels/slide21.xml.rels><?xml version="1.0" encoding="UTF-8" standalone="yes"?>
<Relationships xmlns="http://schemas.openxmlformats.org/package/2006/relationships"><Relationship Id="rId8" Type="http://schemas.openxmlformats.org/officeDocument/2006/relationships/tags" Target="../tags/tag124.xml"/><Relationship Id="rId13" Type="http://schemas.openxmlformats.org/officeDocument/2006/relationships/image" Target="../media/image12.png"/><Relationship Id="rId18" Type="http://schemas.openxmlformats.org/officeDocument/2006/relationships/image" Target="../media/image58.emf"/><Relationship Id="rId3" Type="http://schemas.openxmlformats.org/officeDocument/2006/relationships/tags" Target="../tags/tag119.xml"/><Relationship Id="rId7" Type="http://schemas.openxmlformats.org/officeDocument/2006/relationships/tags" Target="../tags/tag123.xml"/><Relationship Id="rId12" Type="http://schemas.openxmlformats.org/officeDocument/2006/relationships/image" Target="../media/image11.png"/><Relationship Id="rId17" Type="http://schemas.openxmlformats.org/officeDocument/2006/relationships/image" Target="../media/image57.emf"/><Relationship Id="rId2" Type="http://schemas.openxmlformats.org/officeDocument/2006/relationships/tags" Target="../tags/tag118.xml"/><Relationship Id="rId16" Type="http://schemas.openxmlformats.org/officeDocument/2006/relationships/image" Target="../media/image15.png"/><Relationship Id="rId20" Type="http://schemas.openxmlformats.org/officeDocument/2006/relationships/image" Target="../media/image60.png"/><Relationship Id="rId1" Type="http://schemas.openxmlformats.org/officeDocument/2006/relationships/tags" Target="../tags/tag117.xml"/><Relationship Id="rId6" Type="http://schemas.openxmlformats.org/officeDocument/2006/relationships/tags" Target="../tags/tag122.xml"/><Relationship Id="rId11" Type="http://schemas.openxmlformats.org/officeDocument/2006/relationships/image" Target="../media/image10.png"/><Relationship Id="rId5" Type="http://schemas.openxmlformats.org/officeDocument/2006/relationships/tags" Target="../tags/tag121.xml"/><Relationship Id="rId15" Type="http://schemas.openxmlformats.org/officeDocument/2006/relationships/image" Target="../media/image14.png"/><Relationship Id="rId10" Type="http://schemas.openxmlformats.org/officeDocument/2006/relationships/notesSlide" Target="../notesSlides/notesSlide21.xml"/><Relationship Id="rId19" Type="http://schemas.openxmlformats.org/officeDocument/2006/relationships/image" Target="../media/image59.png"/><Relationship Id="rId4" Type="http://schemas.openxmlformats.org/officeDocument/2006/relationships/tags" Target="../tags/tag120.xml"/><Relationship Id="rId9" Type="http://schemas.openxmlformats.org/officeDocument/2006/relationships/slideLayout" Target="../slideLayouts/slideLayout11.xml"/><Relationship Id="rId14" Type="http://schemas.openxmlformats.org/officeDocument/2006/relationships/image" Target="../media/image13.png"/></Relationships>
</file>

<file path=ppt/slides/_rels/slide22.xml.rels><?xml version="1.0" encoding="UTF-8" standalone="yes"?>
<Relationships xmlns="http://schemas.openxmlformats.org/package/2006/relationships"><Relationship Id="rId8" Type="http://schemas.openxmlformats.org/officeDocument/2006/relationships/tags" Target="../tags/tag132.xml"/><Relationship Id="rId13" Type="http://schemas.openxmlformats.org/officeDocument/2006/relationships/tags" Target="../tags/tag137.xml"/><Relationship Id="rId18" Type="http://schemas.openxmlformats.org/officeDocument/2006/relationships/image" Target="../media/image12.png"/><Relationship Id="rId3" Type="http://schemas.openxmlformats.org/officeDocument/2006/relationships/tags" Target="../tags/tag127.xml"/><Relationship Id="rId21" Type="http://schemas.openxmlformats.org/officeDocument/2006/relationships/image" Target="../media/image15.png"/><Relationship Id="rId7" Type="http://schemas.openxmlformats.org/officeDocument/2006/relationships/tags" Target="../tags/tag131.xml"/><Relationship Id="rId12" Type="http://schemas.openxmlformats.org/officeDocument/2006/relationships/tags" Target="../tags/tag136.xml"/><Relationship Id="rId17" Type="http://schemas.openxmlformats.org/officeDocument/2006/relationships/image" Target="../media/image11.png"/><Relationship Id="rId25" Type="http://schemas.openxmlformats.org/officeDocument/2006/relationships/image" Target="../media/image64.png"/><Relationship Id="rId2" Type="http://schemas.openxmlformats.org/officeDocument/2006/relationships/tags" Target="../tags/tag126.xml"/><Relationship Id="rId16" Type="http://schemas.openxmlformats.org/officeDocument/2006/relationships/image" Target="../media/image10.png"/><Relationship Id="rId20" Type="http://schemas.openxmlformats.org/officeDocument/2006/relationships/image" Target="../media/image14.png"/><Relationship Id="rId1" Type="http://schemas.openxmlformats.org/officeDocument/2006/relationships/tags" Target="../tags/tag125.xml"/><Relationship Id="rId6" Type="http://schemas.openxmlformats.org/officeDocument/2006/relationships/tags" Target="../tags/tag130.xml"/><Relationship Id="rId11" Type="http://schemas.openxmlformats.org/officeDocument/2006/relationships/tags" Target="../tags/tag135.xml"/><Relationship Id="rId24" Type="http://schemas.openxmlformats.org/officeDocument/2006/relationships/image" Target="../media/image63.png"/><Relationship Id="rId5" Type="http://schemas.openxmlformats.org/officeDocument/2006/relationships/tags" Target="../tags/tag129.xml"/><Relationship Id="rId15" Type="http://schemas.openxmlformats.org/officeDocument/2006/relationships/notesSlide" Target="../notesSlides/notesSlide22.xml"/><Relationship Id="rId23" Type="http://schemas.openxmlformats.org/officeDocument/2006/relationships/image" Target="../media/image62.emf"/><Relationship Id="rId10" Type="http://schemas.openxmlformats.org/officeDocument/2006/relationships/tags" Target="../tags/tag134.xml"/><Relationship Id="rId19" Type="http://schemas.openxmlformats.org/officeDocument/2006/relationships/image" Target="../media/image13.png"/><Relationship Id="rId4" Type="http://schemas.openxmlformats.org/officeDocument/2006/relationships/tags" Target="../tags/tag128.xml"/><Relationship Id="rId9" Type="http://schemas.openxmlformats.org/officeDocument/2006/relationships/tags" Target="../tags/tag133.xml"/><Relationship Id="rId14" Type="http://schemas.openxmlformats.org/officeDocument/2006/relationships/slideLayout" Target="../slideLayouts/slideLayout11.xml"/><Relationship Id="rId22" Type="http://schemas.openxmlformats.org/officeDocument/2006/relationships/image" Target="../media/image61.emf"/></Relationships>
</file>

<file path=ppt/slides/_rels/slide2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tags" Target="../tags/tag140.xml"/><Relationship Id="rId7" Type="http://schemas.openxmlformats.org/officeDocument/2006/relationships/notesSlide" Target="../notesSlides/notesSlide23.xml"/><Relationship Id="rId12" Type="http://schemas.openxmlformats.org/officeDocument/2006/relationships/image" Target="../media/image14.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slideLayout" Target="../slideLayouts/slideLayout11.xml"/><Relationship Id="rId11" Type="http://schemas.openxmlformats.org/officeDocument/2006/relationships/image" Target="../media/image13.png"/><Relationship Id="rId5" Type="http://schemas.openxmlformats.org/officeDocument/2006/relationships/tags" Target="../tags/tag142.xml"/><Relationship Id="rId15" Type="http://schemas.openxmlformats.org/officeDocument/2006/relationships/image" Target="../media/image66.png"/><Relationship Id="rId10" Type="http://schemas.openxmlformats.org/officeDocument/2006/relationships/image" Target="../media/image12.png"/><Relationship Id="rId4" Type="http://schemas.openxmlformats.org/officeDocument/2006/relationships/tags" Target="../tags/tag141.xml"/><Relationship Id="rId9" Type="http://schemas.openxmlformats.org/officeDocument/2006/relationships/image" Target="../media/image11.png"/><Relationship Id="rId14" Type="http://schemas.openxmlformats.org/officeDocument/2006/relationships/image" Target="../media/image65.emf"/></Relationships>
</file>

<file path=ppt/slides/_rels/slide24.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image" Target="../media/image11.png"/><Relationship Id="rId18" Type="http://schemas.openxmlformats.org/officeDocument/2006/relationships/image" Target="../media/image67.emf"/><Relationship Id="rId3" Type="http://schemas.openxmlformats.org/officeDocument/2006/relationships/tags" Target="../tags/tag145.xml"/><Relationship Id="rId21" Type="http://schemas.openxmlformats.org/officeDocument/2006/relationships/image" Target="../media/image70.png"/><Relationship Id="rId7" Type="http://schemas.openxmlformats.org/officeDocument/2006/relationships/tags" Target="../tags/tag149.xml"/><Relationship Id="rId12" Type="http://schemas.openxmlformats.org/officeDocument/2006/relationships/image" Target="../media/image10.png"/><Relationship Id="rId17" Type="http://schemas.openxmlformats.org/officeDocument/2006/relationships/image" Target="../media/image15.png"/><Relationship Id="rId2" Type="http://schemas.openxmlformats.org/officeDocument/2006/relationships/tags" Target="../tags/tag144.xml"/><Relationship Id="rId16" Type="http://schemas.openxmlformats.org/officeDocument/2006/relationships/image" Target="../media/image14.png"/><Relationship Id="rId20" Type="http://schemas.openxmlformats.org/officeDocument/2006/relationships/image" Target="../media/image69.png"/><Relationship Id="rId1" Type="http://schemas.openxmlformats.org/officeDocument/2006/relationships/tags" Target="../tags/tag143.xml"/><Relationship Id="rId6" Type="http://schemas.openxmlformats.org/officeDocument/2006/relationships/tags" Target="../tags/tag148.xml"/><Relationship Id="rId11" Type="http://schemas.openxmlformats.org/officeDocument/2006/relationships/notesSlide" Target="../notesSlides/notesSlide24.xml"/><Relationship Id="rId5" Type="http://schemas.openxmlformats.org/officeDocument/2006/relationships/tags" Target="../tags/tag147.xml"/><Relationship Id="rId15" Type="http://schemas.openxmlformats.org/officeDocument/2006/relationships/image" Target="../media/image13.png"/><Relationship Id="rId10" Type="http://schemas.openxmlformats.org/officeDocument/2006/relationships/slideLayout" Target="../slideLayouts/slideLayout11.xml"/><Relationship Id="rId19" Type="http://schemas.openxmlformats.org/officeDocument/2006/relationships/image" Target="../media/image68.emf"/><Relationship Id="rId4" Type="http://schemas.openxmlformats.org/officeDocument/2006/relationships/tags" Target="../tags/tag146.xml"/><Relationship Id="rId9" Type="http://schemas.openxmlformats.org/officeDocument/2006/relationships/tags" Target="../tags/tag151.xml"/><Relationship Id="rId14" Type="http://schemas.openxmlformats.org/officeDocument/2006/relationships/image" Target="../media/image12.png"/></Relationships>
</file>

<file path=ppt/slides/_rels/slide25.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13.png"/><Relationship Id="rId18" Type="http://schemas.openxmlformats.org/officeDocument/2006/relationships/image" Target="../media/image73.png"/><Relationship Id="rId3" Type="http://schemas.openxmlformats.org/officeDocument/2006/relationships/tags" Target="../tags/tag154.xml"/><Relationship Id="rId7" Type="http://schemas.openxmlformats.org/officeDocument/2006/relationships/tags" Target="../tags/tag158.xml"/><Relationship Id="rId12" Type="http://schemas.openxmlformats.org/officeDocument/2006/relationships/image" Target="../media/image12.png"/><Relationship Id="rId17" Type="http://schemas.openxmlformats.org/officeDocument/2006/relationships/image" Target="../media/image72.emf"/><Relationship Id="rId2" Type="http://schemas.openxmlformats.org/officeDocument/2006/relationships/tags" Target="../tags/tag153.xml"/><Relationship Id="rId16" Type="http://schemas.openxmlformats.org/officeDocument/2006/relationships/image" Target="../media/image71.emf"/><Relationship Id="rId1" Type="http://schemas.openxmlformats.org/officeDocument/2006/relationships/tags" Target="../tags/tag152.xml"/><Relationship Id="rId6" Type="http://schemas.openxmlformats.org/officeDocument/2006/relationships/tags" Target="../tags/tag157.xml"/><Relationship Id="rId11" Type="http://schemas.openxmlformats.org/officeDocument/2006/relationships/image" Target="../media/image11.png"/><Relationship Id="rId5" Type="http://schemas.openxmlformats.org/officeDocument/2006/relationships/tags" Target="../tags/tag156.xml"/><Relationship Id="rId15" Type="http://schemas.openxmlformats.org/officeDocument/2006/relationships/image" Target="../media/image15.png"/><Relationship Id="rId10" Type="http://schemas.openxmlformats.org/officeDocument/2006/relationships/image" Target="../media/image10.png"/><Relationship Id="rId19" Type="http://schemas.openxmlformats.org/officeDocument/2006/relationships/image" Target="../media/image74.png"/><Relationship Id="rId4" Type="http://schemas.openxmlformats.org/officeDocument/2006/relationships/tags" Target="../tags/tag155.xml"/><Relationship Id="rId9" Type="http://schemas.openxmlformats.org/officeDocument/2006/relationships/notesSlide" Target="../notesSlides/notesSlide25.xml"/><Relationship Id="rId14" Type="http://schemas.openxmlformats.org/officeDocument/2006/relationships/image" Target="../media/image14.png"/></Relationships>
</file>

<file path=ppt/slides/_rels/slide26.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tags" Target="../tags/tag160.xml"/><Relationship Id="rId7" Type="http://schemas.openxmlformats.org/officeDocument/2006/relationships/notesSlide" Target="../notesSlides/notesSlide26.xml"/><Relationship Id="rId12" Type="http://schemas.openxmlformats.org/officeDocument/2006/relationships/image" Target="../media/image14.png"/><Relationship Id="rId17" Type="http://schemas.openxmlformats.org/officeDocument/2006/relationships/image" Target="../media/image5.wmf"/><Relationship Id="rId2" Type="http://schemas.openxmlformats.org/officeDocument/2006/relationships/tags" Target="../tags/tag159.xml"/><Relationship Id="rId16" Type="http://schemas.openxmlformats.org/officeDocument/2006/relationships/package" Target="../embeddings/Microsoft_Excel-Arbeitsblatt4.xlsx"/><Relationship Id="rId1" Type="http://schemas.openxmlformats.org/officeDocument/2006/relationships/vmlDrawing" Target="../drawings/vmlDrawing4.vml"/><Relationship Id="rId6" Type="http://schemas.openxmlformats.org/officeDocument/2006/relationships/slideLayout" Target="../slideLayouts/slideLayout11.xml"/><Relationship Id="rId11" Type="http://schemas.openxmlformats.org/officeDocument/2006/relationships/image" Target="../media/image13.png"/><Relationship Id="rId5" Type="http://schemas.openxmlformats.org/officeDocument/2006/relationships/tags" Target="../tags/tag162.xml"/><Relationship Id="rId15" Type="http://schemas.openxmlformats.org/officeDocument/2006/relationships/image" Target="../media/image76.png"/><Relationship Id="rId10" Type="http://schemas.openxmlformats.org/officeDocument/2006/relationships/image" Target="../media/image12.png"/><Relationship Id="rId4" Type="http://schemas.openxmlformats.org/officeDocument/2006/relationships/tags" Target="../tags/tag161.xml"/><Relationship Id="rId9" Type="http://schemas.openxmlformats.org/officeDocument/2006/relationships/image" Target="../media/image11.png"/><Relationship Id="rId14" Type="http://schemas.openxmlformats.org/officeDocument/2006/relationships/image" Target="../media/image75.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5.xml"/><Relationship Id="rId1" Type="http://schemas.openxmlformats.org/officeDocument/2006/relationships/tags" Target="../tags/tag163.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8.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7.emf"/><Relationship Id="rId2" Type="http://schemas.openxmlformats.org/officeDocument/2006/relationships/tags" Target="../tags/tag3.xml"/><Relationship Id="rId16" Type="http://schemas.openxmlformats.org/officeDocument/2006/relationships/image" Target="../media/image5.wmf"/><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image" Target="../media/image6.emf"/><Relationship Id="rId5" Type="http://schemas.openxmlformats.org/officeDocument/2006/relationships/tags" Target="../tags/tag6.xml"/><Relationship Id="rId15" Type="http://schemas.openxmlformats.org/officeDocument/2006/relationships/package" Target="../embeddings/Microsoft_Excel-Arbeitsblatt2.xlsx"/><Relationship Id="rId10" Type="http://schemas.openxmlformats.org/officeDocument/2006/relationships/notesSlide" Target="../notesSlides/notesSlide3.xml"/><Relationship Id="rId4" Type="http://schemas.openxmlformats.org/officeDocument/2006/relationships/tags" Target="../tags/tag5.xml"/><Relationship Id="rId9" Type="http://schemas.openxmlformats.org/officeDocument/2006/relationships/slideLayout" Target="../slideLayouts/slideLayout13.xml"/><Relationship Id="rId1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notesSlide" Target="../notesSlides/notesSlide4.xml"/><Relationship Id="rId5" Type="http://schemas.openxmlformats.org/officeDocument/2006/relationships/slideLayout" Target="../slideLayouts/slideLayout13.xml"/><Relationship Id="rId4" Type="http://schemas.openxmlformats.org/officeDocument/2006/relationships/tags" Target="../tags/tag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notesSlide" Target="../notesSlides/notesSlide9.xml"/><Relationship Id="rId18" Type="http://schemas.openxmlformats.org/officeDocument/2006/relationships/image" Target="../media/image14.png"/><Relationship Id="rId3" Type="http://schemas.openxmlformats.org/officeDocument/2006/relationships/tags" Target="../tags/tag15.xml"/><Relationship Id="rId21" Type="http://schemas.openxmlformats.org/officeDocument/2006/relationships/image" Target="../media/image18.emf"/><Relationship Id="rId7" Type="http://schemas.openxmlformats.org/officeDocument/2006/relationships/tags" Target="../tags/tag19.xml"/><Relationship Id="rId12" Type="http://schemas.openxmlformats.org/officeDocument/2006/relationships/slideLayout" Target="../slideLayouts/slideLayout11.xml"/><Relationship Id="rId17" Type="http://schemas.openxmlformats.org/officeDocument/2006/relationships/image" Target="../media/image13.png"/><Relationship Id="rId25" Type="http://schemas.openxmlformats.org/officeDocument/2006/relationships/image" Target="../media/image16.wmf"/><Relationship Id="rId2" Type="http://schemas.openxmlformats.org/officeDocument/2006/relationships/tags" Target="../tags/tag14.xml"/><Relationship Id="rId16" Type="http://schemas.openxmlformats.org/officeDocument/2006/relationships/image" Target="../media/image12.png"/><Relationship Id="rId20" Type="http://schemas.openxmlformats.org/officeDocument/2006/relationships/image" Target="../media/image17.emf"/><Relationship Id="rId1" Type="http://schemas.openxmlformats.org/officeDocument/2006/relationships/vmlDrawing" Target="../drawings/vmlDrawing3.v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package" Target="../embeddings/Microsoft_Excel-Arbeitsblatt3.xlsx"/><Relationship Id="rId5" Type="http://schemas.openxmlformats.org/officeDocument/2006/relationships/tags" Target="../tags/tag17.xml"/><Relationship Id="rId15" Type="http://schemas.openxmlformats.org/officeDocument/2006/relationships/image" Target="../media/image11.png"/><Relationship Id="rId23" Type="http://schemas.openxmlformats.org/officeDocument/2006/relationships/image" Target="../media/image20.png"/><Relationship Id="rId10" Type="http://schemas.openxmlformats.org/officeDocument/2006/relationships/tags" Target="../tags/tag22.xml"/><Relationship Id="rId19" Type="http://schemas.openxmlformats.org/officeDocument/2006/relationships/image" Target="../media/image15.png"/><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image" Target="../media/image10.png"/><Relationship Id="rId22"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10000" noProof="0" dirty="0" smtClean="0"/>
              <a:t>Workbook</a:t>
            </a:r>
            <a:br>
              <a:rPr lang="en-US" sz="10000" noProof="0" dirty="0" smtClean="0"/>
            </a:br>
            <a:r>
              <a:rPr lang="en-US" sz="7200" noProof="0" dirty="0"/>
              <a:t>Expenditures from Gross Profit to EBIT </a:t>
            </a:r>
            <a:r>
              <a:rPr lang="en-US" sz="7200" noProof="0" dirty="0" smtClean="0"/>
              <a:t>– Total Cost Method (TCM) (Planning)</a:t>
            </a:r>
            <a:endParaRPr lang="en-US" sz="7200" noProof="0" dirty="0"/>
          </a:p>
        </p:txBody>
      </p:sp>
      <p:sp>
        <p:nvSpPr>
          <p:cNvPr id="5" name="Subtitle 4"/>
          <p:cNvSpPr>
            <a:spLocks noGrp="1"/>
          </p:cNvSpPr>
          <p:nvPr>
            <p:ph type="body" sz="quarter" idx="11"/>
          </p:nvPr>
        </p:nvSpPr>
        <p:spPr/>
        <p:txBody>
          <a:bodyPr/>
          <a:lstStyle/>
          <a:p>
            <a:r>
              <a:rPr lang="en-US" noProof="0" dirty="0" smtClean="0"/>
              <a:t>Internal Use Only</a:t>
            </a:r>
          </a:p>
          <a:p>
            <a:endParaRPr lang="en-US" noProof="0" dirty="0" smtClean="0"/>
          </a:p>
          <a:p>
            <a:pPr lvl="1"/>
            <a:r>
              <a:rPr lang="en-US" noProof="0" dirty="0" smtClean="0"/>
              <a:t>April 2017</a:t>
            </a:r>
            <a:endParaRPr lang="en-US" noProof="0" dirty="0"/>
          </a:p>
        </p:txBody>
      </p:sp>
      <p:sp>
        <p:nvSpPr>
          <p:cNvPr id="8" name="Rechteck 7"/>
          <p:cNvSpPr/>
          <p:nvPr/>
        </p:nvSpPr>
        <p:spPr>
          <a:xfrm>
            <a:off x="-1266825" y="5448300"/>
            <a:ext cx="1190625" cy="14097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dirty="0" smtClean="0">
                <a:solidFill>
                  <a:schemeClr val="bg1"/>
                </a:solidFill>
              </a:rPr>
              <a:t>EXCEL FILE:</a:t>
            </a:r>
          </a:p>
        </p:txBody>
      </p:sp>
      <p:graphicFrame>
        <p:nvGraphicFramePr>
          <p:cNvPr id="2" name="Objekt 1"/>
          <p:cNvGraphicFramePr>
            <a:graphicFrameLocks noChangeAspect="1"/>
          </p:cNvGraphicFramePr>
          <p:nvPr>
            <p:extLst>
              <p:ext uri="{D42A27DB-BD31-4B8C-83A1-F6EECF244321}">
                <p14:modId xmlns:p14="http://schemas.microsoft.com/office/powerpoint/2010/main" val="936432457"/>
              </p:ext>
            </p:extLst>
          </p:nvPr>
        </p:nvGraphicFramePr>
        <p:xfrm>
          <a:off x="-1128713" y="6021388"/>
          <a:ext cx="914400" cy="771525"/>
        </p:xfrm>
        <a:graphic>
          <a:graphicData uri="http://schemas.openxmlformats.org/presentationml/2006/ole">
            <mc:AlternateContent xmlns:mc="http://schemas.openxmlformats.org/markup-compatibility/2006">
              <mc:Choice xmlns:v="urn:schemas-microsoft-com:vml" Requires="v">
                <p:oleObj spid="_x0000_s14421" name="Arbeitsblatt" showAsIcon="1" r:id="rId4" imgW="914400" imgH="771480" progId="Excel.Sheet.12">
                  <p:embed/>
                </p:oleObj>
              </mc:Choice>
              <mc:Fallback>
                <p:oleObj name="Arbeitsblatt" showAsIcon="1" r:id="rId4" imgW="914400" imgH="771480" progId="Excel.Sheet.12">
                  <p:embed/>
                  <p:pic>
                    <p:nvPicPr>
                      <p:cNvPr id="0" name=""/>
                      <p:cNvPicPr/>
                      <p:nvPr/>
                    </p:nvPicPr>
                    <p:blipFill>
                      <a:blip r:embed="rId5"/>
                      <a:stretch>
                        <a:fillRect/>
                      </a:stretch>
                    </p:blipFill>
                    <p:spPr>
                      <a:xfrm>
                        <a:off x="-1128713" y="6021388"/>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382896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custDataLst>
              <p:tags r:id="rId1"/>
            </p:custDataLst>
          </p:nvPr>
        </p:nvPicPr>
        <p:blipFill>
          <a:blip r:embed="rId9"/>
          <a:stretch>
            <a:fillRect/>
          </a:stretch>
        </p:blipFill>
        <p:spPr>
          <a:xfrm>
            <a:off x="2459447" y="1422400"/>
            <a:ext cx="5175119" cy="2569372"/>
          </a:xfrm>
          <a:prstGeom prst="rect">
            <a:avLst/>
          </a:prstGeom>
        </p:spPr>
      </p:pic>
      <p:sp>
        <p:nvSpPr>
          <p:cNvPr id="6" name="Textplatzhalter 5"/>
          <p:cNvSpPr>
            <a:spLocks noGrp="1"/>
          </p:cNvSpPr>
          <p:nvPr>
            <p:ph type="body" sz="quarter" idx="10"/>
          </p:nvPr>
        </p:nvSpPr>
        <p:spPr/>
        <p:txBody>
          <a:bodyPr/>
          <a:lstStyle/>
          <a:p>
            <a:r>
              <a:rPr lang="en-US" dirty="0"/>
              <a:t>The XXX AG planning reflects a distinct increase of the gross profit margin from x% to y% caused by XXX.</a:t>
            </a:r>
          </a:p>
          <a:p>
            <a:r>
              <a:rPr lang="en-US" dirty="0"/>
              <a:t>This should also lead to an increase of the EBIT margin from x% to y% in the planning period.</a:t>
            </a:r>
          </a:p>
          <a:p>
            <a:r>
              <a:rPr lang="en-US" dirty="0"/>
              <a:t>Considering the results achieved in the past, we consider the XXX AG planning to be ambitious.</a:t>
            </a:r>
          </a:p>
        </p:txBody>
      </p:sp>
      <p:sp>
        <p:nvSpPr>
          <p:cNvPr id="5" name="Textplatzhalter 4"/>
          <p:cNvSpPr>
            <a:spLocks noGrp="1"/>
          </p:cNvSpPr>
          <p:nvPr>
            <p:ph type="body" sz="quarter" idx="12"/>
          </p:nvPr>
        </p:nvSpPr>
        <p:spPr>
          <a:xfrm>
            <a:off x="2459447" y="4555800"/>
            <a:ext cx="5127878" cy="1465588"/>
          </a:xfrm>
        </p:spPr>
        <p:txBody>
          <a:bodyPr/>
          <a:lstStyle/>
          <a:p>
            <a:r>
              <a:rPr lang="en-US" dirty="0" smtClean="0"/>
              <a:t>Profit and loss statement</a:t>
            </a:r>
          </a:p>
          <a:p>
            <a:pPr lvl="2">
              <a:lnSpc>
                <a:spcPct val="95000"/>
              </a:lnSpc>
              <a:spcBef>
                <a:spcPts val="300"/>
              </a:spcBef>
            </a:pPr>
            <a:r>
              <a:rPr lang="en-US" dirty="0" smtClean="0"/>
              <a:t>The XXX results in an increase of the gross profit margin in the planning period.</a:t>
            </a:r>
          </a:p>
          <a:p>
            <a:pPr lvl="2">
              <a:lnSpc>
                <a:spcPct val="95000"/>
              </a:lnSpc>
              <a:spcBef>
                <a:spcPts val="300"/>
              </a:spcBef>
            </a:pPr>
            <a:r>
              <a:rPr lang="en-US" dirty="0" smtClean="0"/>
              <a:t>The increase of the other operating income in 2015 is caused by XXX</a:t>
            </a:r>
            <a:endParaRPr lang="en-US" dirty="0"/>
          </a:p>
        </p:txBody>
      </p:sp>
      <p:sp>
        <p:nvSpPr>
          <p:cNvPr id="4" name="Titel 3"/>
          <p:cNvSpPr>
            <a:spLocks noGrp="1"/>
          </p:cNvSpPr>
          <p:nvPr>
            <p:ph type="title"/>
          </p:nvPr>
        </p:nvSpPr>
        <p:spPr/>
        <p:txBody>
          <a:bodyPr/>
          <a:lstStyle/>
          <a:p>
            <a:r>
              <a:rPr lang="en-US" dirty="0"/>
              <a:t>1. Are the planned expenditures, </a:t>
            </a:r>
            <a:r>
              <a:rPr lang="en-US" dirty="0" smtClean="0"/>
              <a:t>cost/income </a:t>
            </a:r>
            <a:r>
              <a:rPr lang="en-US" dirty="0"/>
              <a:t>ratios and the resulting planned profit margins plausible developments from the past? </a:t>
            </a:r>
            <a:r>
              <a:rPr lang="en-US" dirty="0" smtClean="0"/>
              <a:t>(2/6</a:t>
            </a:r>
            <a:r>
              <a:rPr lang="en-US" dirty="0"/>
              <a:t>)</a:t>
            </a:r>
          </a:p>
        </p:txBody>
      </p:sp>
      <p:sp>
        <p:nvSpPr>
          <p:cNvPr id="3" name="Textplatzhalter 2"/>
          <p:cNvSpPr>
            <a:spLocks noGrp="1"/>
          </p:cNvSpPr>
          <p:nvPr>
            <p:ph type="body" sz="quarter" idx="13"/>
          </p:nvPr>
        </p:nvSpPr>
        <p:spPr/>
        <p:txBody>
          <a:bodyPr/>
          <a:lstStyle/>
          <a:p>
            <a:r>
              <a:rPr lang="en-US" dirty="0"/>
              <a:t>Expenditures from Gross Profit to EBIT Total Cost Method (Planning)</a:t>
            </a:r>
          </a:p>
        </p:txBody>
      </p:sp>
      <p:graphicFrame>
        <p:nvGraphicFramePr>
          <p:cNvPr id="39" name="Group 90"/>
          <p:cNvGraphicFramePr>
            <a:graphicFrameLocks noGrp="1"/>
          </p:cNvGraphicFramePr>
          <p:nvPr>
            <p:custDataLst>
              <p:tags r:id="rId2"/>
            </p:custDataLst>
            <p:extLst>
              <p:ext uri="{D42A27DB-BD31-4B8C-83A1-F6EECF244321}">
                <p14:modId xmlns:p14="http://schemas.microsoft.com/office/powerpoint/2010/main" val="3078348399"/>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0"/>
          <a:stretch>
            <a:fillRect/>
          </a:stretch>
        </p:blipFill>
        <p:spPr>
          <a:xfrm>
            <a:off x="7677443" y="5701816"/>
            <a:ext cx="340197" cy="405178"/>
          </a:xfrm>
          <a:prstGeom prst="rect">
            <a:avLst/>
          </a:prstGeom>
        </p:spPr>
      </p:pic>
      <p:pic>
        <p:nvPicPr>
          <p:cNvPr id="20" name="Grafik 19"/>
          <p:cNvPicPr>
            <a:picLocks noChangeAspect="1"/>
          </p:cNvPicPr>
          <p:nvPr/>
        </p:nvPicPr>
        <p:blipFill>
          <a:blip r:embed="rId11"/>
          <a:stretch>
            <a:fillRect/>
          </a:stretch>
        </p:blipFill>
        <p:spPr>
          <a:xfrm>
            <a:off x="7966351" y="5701816"/>
            <a:ext cx="340197" cy="405178"/>
          </a:xfrm>
          <a:prstGeom prst="rect">
            <a:avLst/>
          </a:prstGeom>
        </p:spPr>
      </p:pic>
      <p:pic>
        <p:nvPicPr>
          <p:cNvPr id="21" name="Grafik 20"/>
          <p:cNvPicPr>
            <a:picLocks noChangeAspect="1"/>
          </p:cNvPicPr>
          <p:nvPr/>
        </p:nvPicPr>
        <p:blipFill>
          <a:blip r:embed="rId12"/>
          <a:stretch>
            <a:fillRect/>
          </a:stretch>
        </p:blipFill>
        <p:spPr>
          <a:xfrm>
            <a:off x="8255259" y="5701816"/>
            <a:ext cx="340197" cy="405178"/>
          </a:xfrm>
          <a:prstGeom prst="rect">
            <a:avLst/>
          </a:prstGeom>
        </p:spPr>
      </p:pic>
      <p:pic>
        <p:nvPicPr>
          <p:cNvPr id="22" name="Grafik 21"/>
          <p:cNvPicPr>
            <a:picLocks noChangeAspect="1"/>
          </p:cNvPicPr>
          <p:nvPr/>
        </p:nvPicPr>
        <p:blipFill>
          <a:blip r:embed="rId13"/>
          <a:stretch>
            <a:fillRect/>
          </a:stretch>
        </p:blipFill>
        <p:spPr>
          <a:xfrm>
            <a:off x="8544167" y="5701816"/>
            <a:ext cx="340197" cy="405178"/>
          </a:xfrm>
          <a:prstGeom prst="rect">
            <a:avLst/>
          </a:prstGeom>
        </p:spPr>
      </p:pic>
      <p:pic>
        <p:nvPicPr>
          <p:cNvPr id="23" name="Grafik 22"/>
          <p:cNvPicPr>
            <a:picLocks noChangeAspect="1"/>
          </p:cNvPicPr>
          <p:nvPr/>
        </p:nvPicPr>
        <p:blipFill>
          <a:blip r:embed="rId14"/>
          <a:stretch>
            <a:fillRect/>
          </a:stretch>
        </p:blipFill>
        <p:spPr>
          <a:xfrm>
            <a:off x="8833075" y="5701816"/>
            <a:ext cx="340197" cy="405178"/>
          </a:xfrm>
          <a:prstGeom prst="rect">
            <a:avLst/>
          </a:prstGeom>
        </p:spPr>
      </p:pic>
      <p:pic>
        <p:nvPicPr>
          <p:cNvPr id="24" name="Grafik 23"/>
          <p:cNvPicPr>
            <a:picLocks noChangeAspect="1"/>
          </p:cNvPicPr>
          <p:nvPr/>
        </p:nvPicPr>
        <p:blipFill>
          <a:blip r:embed="rId15"/>
          <a:stretch>
            <a:fillRect/>
          </a:stretch>
        </p:blipFill>
        <p:spPr>
          <a:xfrm>
            <a:off x="9121985" y="5701816"/>
            <a:ext cx="340197" cy="405178"/>
          </a:xfrm>
          <a:prstGeom prst="rect">
            <a:avLst/>
          </a:prstGeom>
        </p:spPr>
      </p:pic>
      <p:sp>
        <p:nvSpPr>
          <p:cNvPr id="27" name="Rechteck 26"/>
          <p:cNvSpPr/>
          <p:nvPr/>
        </p:nvSpPr>
        <p:spPr>
          <a:xfrm rot="721361">
            <a:off x="7680719" y="1463343"/>
            <a:ext cx="1910028" cy="232228"/>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900" dirty="0" smtClean="0"/>
              <a:t>Alternative</a:t>
            </a:r>
            <a:endParaRPr lang="en-US" sz="900" dirty="0"/>
          </a:p>
        </p:txBody>
      </p:sp>
      <p:sp>
        <p:nvSpPr>
          <p:cNvPr id="29" name="Rectangle 4"/>
          <p:cNvSpPr>
            <a:spLocks noChangeArrowheads="1"/>
          </p:cNvSpPr>
          <p:nvPr>
            <p:custDataLst>
              <p:tags r:id="rId3"/>
            </p:custDataLst>
          </p:nvPr>
        </p:nvSpPr>
        <p:spPr bwMode="gray">
          <a:xfrm>
            <a:off x="7763608" y="5358095"/>
            <a:ext cx="1653442" cy="320175"/>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Highlight material effects (circle, numerate, etc.)</a:t>
            </a:r>
          </a:p>
        </p:txBody>
      </p:sp>
      <p:sp>
        <p:nvSpPr>
          <p:cNvPr id="9" name="Ellipse 8"/>
          <p:cNvSpPr/>
          <p:nvPr/>
        </p:nvSpPr>
        <p:spPr>
          <a:xfrm>
            <a:off x="2446338" y="4791075"/>
            <a:ext cx="144000" cy="1428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1</a:t>
            </a:r>
          </a:p>
        </p:txBody>
      </p:sp>
      <p:sp>
        <p:nvSpPr>
          <p:cNvPr id="30" name="Ellipse 29"/>
          <p:cNvSpPr/>
          <p:nvPr/>
        </p:nvSpPr>
        <p:spPr>
          <a:xfrm>
            <a:off x="2446338" y="5056033"/>
            <a:ext cx="144000" cy="1428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2</a:t>
            </a:r>
          </a:p>
        </p:txBody>
      </p:sp>
      <p:sp>
        <p:nvSpPr>
          <p:cNvPr id="31" name="Rounded Rectangle 2"/>
          <p:cNvSpPr/>
          <p:nvPr>
            <p:custDataLst>
              <p:tags r:id="rId4"/>
            </p:custDataLst>
          </p:nvPr>
        </p:nvSpPr>
        <p:spPr>
          <a:xfrm rot="5400000">
            <a:off x="6738469" y="1687689"/>
            <a:ext cx="122903" cy="1719185"/>
          </a:xfrm>
          <a:prstGeom prst="roundRect">
            <a:avLst>
              <a:gd name="adj" fmla="val 21081"/>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
        <p:nvSpPr>
          <p:cNvPr id="32" name="Rounded Rectangle 2"/>
          <p:cNvSpPr/>
          <p:nvPr>
            <p:custDataLst>
              <p:tags r:id="rId5"/>
            </p:custDataLst>
          </p:nvPr>
        </p:nvSpPr>
        <p:spPr>
          <a:xfrm rot="5400000">
            <a:off x="7393996" y="2477684"/>
            <a:ext cx="134467" cy="396563"/>
          </a:xfrm>
          <a:prstGeom prst="roundRect">
            <a:avLst>
              <a:gd name="adj" fmla="val 21081"/>
            </a:avLst>
          </a:prstGeom>
          <a:noFill/>
          <a:ln w="1270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0" tIns="54610" rIns="54610" bIns="54610" rtlCol="0" anchor="ctr"/>
          <a:lstStyle/>
          <a:p>
            <a:pPr algn="ctr"/>
            <a:endParaRPr lang="en-US" sz="900" dirty="0">
              <a:solidFill>
                <a:schemeClr val="tx2"/>
              </a:solidFill>
              <a:latin typeface="Arial" panose="020B0604020202020204" pitchFamily="34" charset="0"/>
            </a:endParaRPr>
          </a:p>
        </p:txBody>
      </p:sp>
      <p:sp>
        <p:nvSpPr>
          <p:cNvPr id="33" name="Ellipse 32"/>
          <p:cNvSpPr/>
          <p:nvPr/>
        </p:nvSpPr>
        <p:spPr>
          <a:xfrm>
            <a:off x="5982018" y="2404927"/>
            <a:ext cx="144000" cy="1428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1</a:t>
            </a:r>
          </a:p>
        </p:txBody>
      </p:sp>
      <p:sp>
        <p:nvSpPr>
          <p:cNvPr id="34" name="Ellipse 33"/>
          <p:cNvSpPr/>
          <p:nvPr/>
        </p:nvSpPr>
        <p:spPr>
          <a:xfrm>
            <a:off x="7201218" y="2652467"/>
            <a:ext cx="144000" cy="1428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dirty="0" smtClean="0">
                <a:solidFill>
                  <a:schemeClr val="bg1"/>
                </a:solidFill>
              </a:rPr>
              <a:t>2</a:t>
            </a:r>
          </a:p>
        </p:txBody>
      </p:sp>
      <p:pic>
        <p:nvPicPr>
          <p:cNvPr id="8" name="Grafik 7"/>
          <p:cNvPicPr>
            <a:picLocks noChangeAspect="1"/>
          </p:cNvPicPr>
          <p:nvPr>
            <p:custDataLst>
              <p:tags r:id="rId6"/>
            </p:custDataLst>
          </p:nvPr>
        </p:nvPicPr>
        <p:blipFill>
          <a:blip r:embed="rId16"/>
          <a:stretch>
            <a:fillRect/>
          </a:stretch>
        </p:blipFill>
        <p:spPr>
          <a:xfrm>
            <a:off x="-2793400" y="2271314"/>
            <a:ext cx="1993565" cy="2219136"/>
          </a:xfrm>
          <a:prstGeom prst="rect">
            <a:avLst/>
          </a:prstGeom>
        </p:spPr>
      </p:pic>
    </p:spTree>
    <p:extLst>
      <p:ext uri="{BB962C8B-B14F-4D97-AF65-F5344CB8AC3E}">
        <p14:creationId xmlns:p14="http://schemas.microsoft.com/office/powerpoint/2010/main" val="32468562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custDataLst>
              <p:tags r:id="rId1"/>
            </p:custDataLst>
          </p:nvPr>
        </p:nvPicPr>
        <p:blipFill rotWithShape="1">
          <a:blip r:embed="rId15"/>
          <a:srcRect t="12422"/>
          <a:stretch/>
        </p:blipFill>
        <p:spPr>
          <a:xfrm>
            <a:off x="2376444" y="1767839"/>
            <a:ext cx="3620754" cy="2050413"/>
          </a:xfrm>
          <a:prstGeom prst="rect">
            <a:avLst/>
          </a:prstGeom>
        </p:spPr>
      </p:pic>
      <p:sp>
        <p:nvSpPr>
          <p:cNvPr id="6" name="Textplatzhalter 5"/>
          <p:cNvSpPr>
            <a:spLocks noGrp="1"/>
          </p:cNvSpPr>
          <p:nvPr>
            <p:ph type="body" sz="quarter" idx="10"/>
          </p:nvPr>
        </p:nvSpPr>
        <p:spPr/>
        <p:txBody>
          <a:bodyPr/>
          <a:lstStyle/>
          <a:p>
            <a:r>
              <a:rPr lang="en-US" dirty="0"/>
              <a:t>The XXX AG planning reflects a distinct increase of the gross profit margin from x% to y% caused by XXX.</a:t>
            </a:r>
          </a:p>
          <a:p>
            <a:r>
              <a:rPr lang="en-US" dirty="0"/>
              <a:t>This should also lead to an increase of the EBIT margin from x% to y% in the planning period.</a:t>
            </a:r>
          </a:p>
          <a:p>
            <a:r>
              <a:rPr lang="en-US" dirty="0"/>
              <a:t>Considering the results achieved in the past, we consider the XXX AG planning to be ambitious.</a:t>
            </a:r>
          </a:p>
        </p:txBody>
      </p:sp>
      <p:sp>
        <p:nvSpPr>
          <p:cNvPr id="5" name="Textplatzhalter 4"/>
          <p:cNvSpPr>
            <a:spLocks noGrp="1"/>
          </p:cNvSpPr>
          <p:nvPr>
            <p:ph type="body" sz="quarter" idx="12"/>
          </p:nvPr>
        </p:nvSpPr>
        <p:spPr/>
        <p:txBody>
          <a:bodyPr/>
          <a:lstStyle/>
          <a:p>
            <a:pPr>
              <a:lnSpc>
                <a:spcPct val="95000"/>
              </a:lnSpc>
              <a:spcBef>
                <a:spcPts val="300"/>
              </a:spcBef>
            </a:pPr>
            <a:r>
              <a:rPr lang="en-US" dirty="0" smtClean="0"/>
              <a:t>Development of EBIT margin</a:t>
            </a:r>
          </a:p>
          <a:p>
            <a:pPr lvl="2">
              <a:lnSpc>
                <a:spcPct val="95000"/>
              </a:lnSpc>
              <a:spcBef>
                <a:spcPts val="300"/>
              </a:spcBef>
            </a:pPr>
            <a:r>
              <a:rPr lang="en-US" dirty="0" smtClean="0"/>
              <a:t>The EBIT should be increased from €8.5 million in 2012 to </a:t>
            </a:r>
            <a:br>
              <a:rPr lang="en-US" dirty="0" smtClean="0"/>
            </a:br>
            <a:r>
              <a:rPr lang="en-US" dirty="0" smtClean="0"/>
              <a:t>€13 million in 2015 in the course of planning. </a:t>
            </a:r>
          </a:p>
          <a:p>
            <a:pPr lvl="2">
              <a:lnSpc>
                <a:spcPct val="95000"/>
              </a:lnSpc>
              <a:spcBef>
                <a:spcPts val="300"/>
              </a:spcBef>
            </a:pPr>
            <a:r>
              <a:rPr lang="en-US" dirty="0" smtClean="0"/>
              <a:t>Some major causes for the expected profit increase are scale effects and the improvement of procurement conditions. Increases in collective bargaining in personnel costs as well as the expected price reductions for product X have a compensatory impact.</a:t>
            </a:r>
          </a:p>
          <a:p>
            <a:pPr lvl="2">
              <a:lnSpc>
                <a:spcPct val="95000"/>
              </a:lnSpc>
              <a:spcBef>
                <a:spcPts val="300"/>
              </a:spcBef>
            </a:pPr>
            <a:r>
              <a:rPr lang="en-US" dirty="0" smtClean="0"/>
              <a:t>Overall, an improvement of the EBIT margin is expected from </a:t>
            </a:r>
            <a:br>
              <a:rPr lang="en-US" dirty="0" smtClean="0"/>
            </a:br>
            <a:r>
              <a:rPr lang="en-US" dirty="0" smtClean="0"/>
              <a:t>15.2% in 2012 to 19.4% at the end of the planning period, whereby the EBIT margin of 2012 represents the highest EBIT margin ever attained in the history of XXX AG.</a:t>
            </a:r>
          </a:p>
          <a:p>
            <a:pPr lvl="2">
              <a:lnSpc>
                <a:spcPct val="95000"/>
              </a:lnSpc>
              <a:spcBef>
                <a:spcPts val="300"/>
              </a:spcBef>
            </a:pPr>
            <a:r>
              <a:rPr lang="en-US" dirty="0" smtClean="0"/>
              <a:t>The expected scale effects are primarily expected in XXX. They are to be achieved through XXX measures.</a:t>
            </a:r>
          </a:p>
          <a:p>
            <a:pPr lvl="2">
              <a:lnSpc>
                <a:spcPct val="95000"/>
              </a:lnSpc>
              <a:spcBef>
                <a:spcPts val="300"/>
              </a:spcBef>
            </a:pPr>
            <a:r>
              <a:rPr lang="en-US" dirty="0" smtClean="0"/>
              <a:t>[...details about improvements in procurement conditions...]</a:t>
            </a:r>
          </a:p>
          <a:p>
            <a:pPr lvl="2">
              <a:lnSpc>
                <a:spcPct val="95000"/>
              </a:lnSpc>
              <a:spcBef>
                <a:spcPts val="300"/>
              </a:spcBef>
            </a:pPr>
            <a:r>
              <a:rPr lang="en-US" dirty="0" smtClean="0"/>
              <a:t>[...details about collective tariffs increase...]</a:t>
            </a:r>
          </a:p>
          <a:p>
            <a:pPr lvl="2">
              <a:lnSpc>
                <a:spcPct val="95000"/>
              </a:lnSpc>
              <a:spcBef>
                <a:spcPts val="300"/>
              </a:spcBef>
            </a:pPr>
            <a:r>
              <a:rPr lang="en-US" dirty="0" smtClean="0"/>
              <a:t>[...details about price reduction of product X...]</a:t>
            </a:r>
            <a:endParaRPr lang="en-US" dirty="0"/>
          </a:p>
        </p:txBody>
      </p:sp>
      <p:sp>
        <p:nvSpPr>
          <p:cNvPr id="4" name="Titel 3"/>
          <p:cNvSpPr>
            <a:spLocks noGrp="1"/>
          </p:cNvSpPr>
          <p:nvPr>
            <p:ph type="title"/>
          </p:nvPr>
        </p:nvSpPr>
        <p:spPr/>
        <p:txBody>
          <a:bodyPr/>
          <a:lstStyle/>
          <a:p>
            <a:r>
              <a:rPr lang="en-US" dirty="0"/>
              <a:t>1. Are the planned expenditures, </a:t>
            </a:r>
            <a:r>
              <a:rPr lang="en-US" dirty="0" smtClean="0"/>
              <a:t>cost/income </a:t>
            </a:r>
            <a:r>
              <a:rPr lang="en-US" dirty="0"/>
              <a:t>ratios and the resulting planned profit margins plausible developments from the past? </a:t>
            </a:r>
            <a:r>
              <a:rPr lang="en-US" dirty="0" smtClean="0"/>
              <a:t>(3/6</a:t>
            </a:r>
            <a:r>
              <a:rPr lang="en-US" dirty="0"/>
              <a:t>)</a:t>
            </a:r>
          </a:p>
        </p:txBody>
      </p:sp>
      <p:sp>
        <p:nvSpPr>
          <p:cNvPr id="3" name="Textplatzhalter 2"/>
          <p:cNvSpPr>
            <a:spLocks noGrp="1"/>
          </p:cNvSpPr>
          <p:nvPr>
            <p:ph type="body" sz="quarter" idx="13"/>
          </p:nvPr>
        </p:nvSpPr>
        <p:spPr/>
        <p:txBody>
          <a:bodyPr/>
          <a:lstStyle/>
          <a:p>
            <a:r>
              <a:rPr lang="en-US" dirty="0"/>
              <a:t>Expenditures from Gross Profit to EBIT Total Cost Method (Planning)</a:t>
            </a:r>
          </a:p>
        </p:txBody>
      </p:sp>
      <p:graphicFrame>
        <p:nvGraphicFramePr>
          <p:cNvPr id="39" name="Group 90"/>
          <p:cNvGraphicFramePr>
            <a:graphicFrameLocks noGrp="1"/>
          </p:cNvGraphicFramePr>
          <p:nvPr>
            <p:custDataLst>
              <p:tags r:id="rId2"/>
            </p:custDataLst>
            <p:extLst>
              <p:ext uri="{D42A27DB-BD31-4B8C-83A1-F6EECF244321}">
                <p14:modId xmlns:p14="http://schemas.microsoft.com/office/powerpoint/2010/main" val="1144053190"/>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6"/>
          <a:stretch>
            <a:fillRect/>
          </a:stretch>
        </p:blipFill>
        <p:spPr>
          <a:xfrm>
            <a:off x="7677443" y="5701816"/>
            <a:ext cx="340197" cy="405178"/>
          </a:xfrm>
          <a:prstGeom prst="rect">
            <a:avLst/>
          </a:prstGeom>
        </p:spPr>
      </p:pic>
      <p:pic>
        <p:nvPicPr>
          <p:cNvPr id="20" name="Grafik 19"/>
          <p:cNvPicPr>
            <a:picLocks noChangeAspect="1"/>
          </p:cNvPicPr>
          <p:nvPr/>
        </p:nvPicPr>
        <p:blipFill>
          <a:blip r:embed="rId17"/>
          <a:stretch>
            <a:fillRect/>
          </a:stretch>
        </p:blipFill>
        <p:spPr>
          <a:xfrm>
            <a:off x="7966351" y="5701816"/>
            <a:ext cx="340197" cy="405178"/>
          </a:xfrm>
          <a:prstGeom prst="rect">
            <a:avLst/>
          </a:prstGeom>
        </p:spPr>
      </p:pic>
      <p:pic>
        <p:nvPicPr>
          <p:cNvPr id="21" name="Grafik 20"/>
          <p:cNvPicPr>
            <a:picLocks noChangeAspect="1"/>
          </p:cNvPicPr>
          <p:nvPr/>
        </p:nvPicPr>
        <p:blipFill>
          <a:blip r:embed="rId18"/>
          <a:stretch>
            <a:fillRect/>
          </a:stretch>
        </p:blipFill>
        <p:spPr>
          <a:xfrm>
            <a:off x="8255259" y="5701816"/>
            <a:ext cx="340197" cy="405178"/>
          </a:xfrm>
          <a:prstGeom prst="rect">
            <a:avLst/>
          </a:prstGeom>
        </p:spPr>
      </p:pic>
      <p:pic>
        <p:nvPicPr>
          <p:cNvPr id="22" name="Grafik 21"/>
          <p:cNvPicPr>
            <a:picLocks noChangeAspect="1"/>
          </p:cNvPicPr>
          <p:nvPr/>
        </p:nvPicPr>
        <p:blipFill>
          <a:blip r:embed="rId19"/>
          <a:stretch>
            <a:fillRect/>
          </a:stretch>
        </p:blipFill>
        <p:spPr>
          <a:xfrm>
            <a:off x="8544167" y="5701816"/>
            <a:ext cx="340197" cy="405178"/>
          </a:xfrm>
          <a:prstGeom prst="rect">
            <a:avLst/>
          </a:prstGeom>
        </p:spPr>
      </p:pic>
      <p:pic>
        <p:nvPicPr>
          <p:cNvPr id="23" name="Grafik 22"/>
          <p:cNvPicPr>
            <a:picLocks noChangeAspect="1"/>
          </p:cNvPicPr>
          <p:nvPr/>
        </p:nvPicPr>
        <p:blipFill>
          <a:blip r:embed="rId20"/>
          <a:stretch>
            <a:fillRect/>
          </a:stretch>
        </p:blipFill>
        <p:spPr>
          <a:xfrm>
            <a:off x="8833075" y="5701816"/>
            <a:ext cx="340197" cy="405178"/>
          </a:xfrm>
          <a:prstGeom prst="rect">
            <a:avLst/>
          </a:prstGeom>
        </p:spPr>
      </p:pic>
      <p:pic>
        <p:nvPicPr>
          <p:cNvPr id="24" name="Grafik 23"/>
          <p:cNvPicPr>
            <a:picLocks noChangeAspect="1"/>
          </p:cNvPicPr>
          <p:nvPr/>
        </p:nvPicPr>
        <p:blipFill>
          <a:blip r:embed="rId21"/>
          <a:stretch>
            <a:fillRect/>
          </a:stretch>
        </p:blipFill>
        <p:spPr>
          <a:xfrm>
            <a:off x="9121985" y="5701816"/>
            <a:ext cx="340197" cy="405178"/>
          </a:xfrm>
          <a:prstGeom prst="rect">
            <a:avLst/>
          </a:prstGeom>
        </p:spPr>
      </p:pic>
      <p:sp>
        <p:nvSpPr>
          <p:cNvPr id="26" name="Text Placeholder 12"/>
          <p:cNvSpPr txBox="1">
            <a:spLocks/>
          </p:cNvSpPr>
          <p:nvPr>
            <p:custDataLst>
              <p:tags r:id="rId3"/>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EBIT and EBIT margin over time</a:t>
            </a:r>
            <a:endParaRPr lang="en-US" sz="900" kern="0" dirty="0">
              <a:latin typeface="Arial" panose="020B0604020202020204" pitchFamily="34" charset="0"/>
              <a:cs typeface="Arial" panose="020B0604020202020204" pitchFamily="34" charset="0"/>
            </a:endParaRPr>
          </a:p>
        </p:txBody>
      </p:sp>
      <p:grpSp>
        <p:nvGrpSpPr>
          <p:cNvPr id="35" name="Group 2"/>
          <p:cNvGrpSpPr/>
          <p:nvPr>
            <p:custDataLst>
              <p:tags r:id="rId4"/>
            </p:custDataLst>
          </p:nvPr>
        </p:nvGrpSpPr>
        <p:grpSpPr>
          <a:xfrm>
            <a:off x="2849209" y="1672499"/>
            <a:ext cx="2637191" cy="1764121"/>
            <a:chOff x="-755730" y="5561012"/>
            <a:chExt cx="2174657" cy="1624013"/>
          </a:xfrm>
        </p:grpSpPr>
        <p:sp>
          <p:nvSpPr>
            <p:cNvPr id="36" name="Rectangle 2"/>
            <p:cNvSpPr>
              <a:spLocks noChangeArrowheads="1"/>
            </p:cNvSpPr>
            <p:nvPr>
              <p:custDataLst>
                <p:tags r:id="rId11"/>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7" name="Rectangle 2"/>
            <p:cNvSpPr>
              <a:spLocks noChangeArrowheads="1"/>
            </p:cNvSpPr>
            <p:nvPr>
              <p:custDataLst>
                <p:tags r:id="rId12"/>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sp>
        <p:nvSpPr>
          <p:cNvPr id="27" name="Text Placeholder 12"/>
          <p:cNvSpPr txBox="1">
            <a:spLocks/>
          </p:cNvSpPr>
          <p:nvPr>
            <p:custDataLst>
              <p:tags r:id="rId5"/>
            </p:custDataLst>
          </p:nvPr>
        </p:nvSpPr>
        <p:spPr>
          <a:xfrm>
            <a:off x="2446338" y="3627752"/>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Change in EBIT in the planning period</a:t>
            </a:r>
            <a:endParaRPr lang="en-US" sz="900" kern="0" dirty="0">
              <a:latin typeface="Arial" panose="020B0604020202020204" pitchFamily="34" charset="0"/>
              <a:cs typeface="Arial" panose="020B0604020202020204" pitchFamily="34" charset="0"/>
            </a:endParaRPr>
          </a:p>
        </p:txBody>
      </p:sp>
      <p:pic>
        <p:nvPicPr>
          <p:cNvPr id="14" name="Grafik 13"/>
          <p:cNvPicPr>
            <a:picLocks noChangeAspect="1"/>
          </p:cNvPicPr>
          <p:nvPr>
            <p:custDataLst>
              <p:tags r:id="rId6"/>
            </p:custDataLst>
          </p:nvPr>
        </p:nvPicPr>
        <p:blipFill>
          <a:blip r:embed="rId22"/>
          <a:stretch>
            <a:fillRect/>
          </a:stretch>
        </p:blipFill>
        <p:spPr>
          <a:xfrm>
            <a:off x="2364198" y="3681273"/>
            <a:ext cx="3767047" cy="2817775"/>
          </a:xfrm>
          <a:prstGeom prst="rect">
            <a:avLst/>
          </a:prstGeom>
        </p:spPr>
      </p:pic>
      <p:sp>
        <p:nvSpPr>
          <p:cNvPr id="30" name="Rectangle 4"/>
          <p:cNvSpPr>
            <a:spLocks noChangeArrowheads="1"/>
          </p:cNvSpPr>
          <p:nvPr>
            <p:custDataLst>
              <p:tags r:id="rId7"/>
            </p:custDataLst>
          </p:nvPr>
        </p:nvSpPr>
        <p:spPr bwMode="gray">
          <a:xfrm>
            <a:off x="7763608" y="5082541"/>
            <a:ext cx="1653442" cy="595730"/>
          </a:xfrm>
          <a:prstGeom prst="rect">
            <a:avLst/>
          </a:prstGeom>
          <a:solidFill>
            <a:srgbClr val="BC204B"/>
          </a:solidFill>
          <a:ln w="6350">
            <a:noFill/>
            <a:miter lim="800000"/>
            <a:headEnd/>
            <a:tailEnd/>
          </a:ln>
          <a:effectLst/>
        </p:spPr>
        <p:txBody>
          <a:bodyPr lIns="54000" tIns="54000" rIns="54000" bIns="54000" anchor="ctr" anchorCtr="1"/>
          <a:lstStyle/>
          <a:p>
            <a:pPr algn="ctr"/>
            <a:r>
              <a:rPr lang="en-US" sz="700" dirty="0" smtClean="0">
                <a:solidFill>
                  <a:schemeClr val="bg1"/>
                </a:solidFill>
              </a:rPr>
              <a:t>Presentation of essential elements in the bridge. If applicable, presentation across the entire slide with a copy below for majority of essential elements</a:t>
            </a:r>
            <a:endParaRPr lang="en-US" sz="700" dirty="0">
              <a:solidFill>
                <a:schemeClr val="bg1"/>
              </a:solidFill>
            </a:endParaRPr>
          </a:p>
        </p:txBody>
      </p:sp>
      <p:sp>
        <p:nvSpPr>
          <p:cNvPr id="25" name="Rectangle 4"/>
          <p:cNvSpPr>
            <a:spLocks noChangeArrowheads="1"/>
          </p:cNvSpPr>
          <p:nvPr>
            <p:custDataLst>
              <p:tags r:id="rId8"/>
            </p:custDataLst>
          </p:nvPr>
        </p:nvSpPr>
        <p:spPr bwMode="gray">
          <a:xfrm>
            <a:off x="7763608" y="4687538"/>
            <a:ext cx="1653442" cy="320175"/>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Instead of EBIT, presentation of EBITDA may also be recommendable</a:t>
            </a:r>
          </a:p>
        </p:txBody>
      </p:sp>
      <p:pic>
        <p:nvPicPr>
          <p:cNvPr id="9" name="Grafik 8"/>
          <p:cNvPicPr>
            <a:picLocks noChangeAspect="1"/>
          </p:cNvPicPr>
          <p:nvPr>
            <p:custDataLst>
              <p:tags r:id="rId9"/>
            </p:custDataLst>
          </p:nvPr>
        </p:nvPicPr>
        <p:blipFill>
          <a:blip r:embed="rId23"/>
          <a:stretch>
            <a:fillRect/>
          </a:stretch>
        </p:blipFill>
        <p:spPr>
          <a:xfrm>
            <a:off x="-2793400" y="1767839"/>
            <a:ext cx="1999661" cy="2225233"/>
          </a:xfrm>
          <a:prstGeom prst="rect">
            <a:avLst/>
          </a:prstGeom>
        </p:spPr>
      </p:pic>
      <p:pic>
        <p:nvPicPr>
          <p:cNvPr id="11" name="Grafik 10"/>
          <p:cNvPicPr>
            <a:picLocks noChangeAspect="1"/>
          </p:cNvPicPr>
          <p:nvPr>
            <p:custDataLst>
              <p:tags r:id="rId10"/>
            </p:custDataLst>
          </p:nvPr>
        </p:nvPicPr>
        <p:blipFill>
          <a:blip r:embed="rId24"/>
          <a:stretch>
            <a:fillRect/>
          </a:stretch>
        </p:blipFill>
        <p:spPr>
          <a:xfrm>
            <a:off x="-2793400" y="4355582"/>
            <a:ext cx="1999661" cy="2231329"/>
          </a:xfrm>
          <a:prstGeom prst="rect">
            <a:avLst/>
          </a:prstGeom>
        </p:spPr>
      </p:pic>
    </p:spTree>
    <p:extLst>
      <p:ext uri="{BB962C8B-B14F-4D97-AF65-F5344CB8AC3E}">
        <p14:creationId xmlns:p14="http://schemas.microsoft.com/office/powerpoint/2010/main" val="31971999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The expected improvement of the EBIT margin in the planning period should primarily be attained by a reduction of the material cost ratio.</a:t>
            </a:r>
          </a:p>
          <a:p>
            <a:r>
              <a:rPr lang="en-US" dirty="0" smtClean="0"/>
              <a:t>A </a:t>
            </a:r>
            <a:r>
              <a:rPr lang="en-US" dirty="0"/>
              <a:t>package of measures has been developed to that end and the implementation initiated.</a:t>
            </a:r>
          </a:p>
          <a:p>
            <a:r>
              <a:rPr lang="en-US" dirty="0"/>
              <a:t>If applicable estimation realistic/ambitious/plausible</a:t>
            </a:r>
            <a:r>
              <a:rPr lang="en-US" dirty="0" smtClean="0"/>
              <a:t>/</a:t>
            </a:r>
            <a:br>
              <a:rPr lang="en-US" dirty="0" smtClean="0"/>
            </a:br>
            <a:r>
              <a:rPr lang="en-US" dirty="0" smtClean="0"/>
              <a:t>reproducible</a:t>
            </a:r>
            <a:r>
              <a:rPr lang="en-US" dirty="0"/>
              <a:t>…</a:t>
            </a:r>
          </a:p>
        </p:txBody>
      </p:sp>
      <p:sp>
        <p:nvSpPr>
          <p:cNvPr id="5" name="Textplatzhalter 4"/>
          <p:cNvSpPr>
            <a:spLocks noGrp="1"/>
          </p:cNvSpPr>
          <p:nvPr>
            <p:ph type="body" sz="quarter" idx="12"/>
          </p:nvPr>
        </p:nvSpPr>
        <p:spPr/>
        <p:txBody>
          <a:bodyPr/>
          <a:lstStyle/>
          <a:p>
            <a:pPr>
              <a:lnSpc>
                <a:spcPct val="95000"/>
              </a:lnSpc>
              <a:spcBef>
                <a:spcPts val="300"/>
              </a:spcBef>
            </a:pPr>
            <a:r>
              <a:rPr lang="en-US" dirty="0" smtClean="0"/>
              <a:t>Change of EBIT margin</a:t>
            </a:r>
          </a:p>
          <a:p>
            <a:pPr lvl="2"/>
            <a:r>
              <a:rPr lang="en-US" dirty="0" smtClean="0"/>
              <a:t>The expected increase of the EBIT margin in the planning period is primarily attributable to the change in gross profit margin</a:t>
            </a:r>
          </a:p>
          <a:p>
            <a:pPr lvl="2"/>
            <a:r>
              <a:rPr lang="en-US" dirty="0" smtClean="0"/>
              <a:t>The expected improvement of the cost of material ratio is caused by XXX</a:t>
            </a:r>
          </a:p>
          <a:p>
            <a:pPr lvl="2"/>
            <a:r>
              <a:rPr lang="en-US" dirty="0" smtClean="0"/>
              <a:t>The personnel expenses initially increase disproportionally in the course of planning compared to sales. In 2015, however, a reduction of the personal expenses ratio should be attained by XXX.</a:t>
            </a:r>
            <a:endParaRPr lang="en-US" dirty="0"/>
          </a:p>
        </p:txBody>
      </p:sp>
      <p:sp>
        <p:nvSpPr>
          <p:cNvPr id="4" name="Titel 3"/>
          <p:cNvSpPr>
            <a:spLocks noGrp="1"/>
          </p:cNvSpPr>
          <p:nvPr>
            <p:ph type="title"/>
          </p:nvPr>
        </p:nvSpPr>
        <p:spPr/>
        <p:txBody>
          <a:bodyPr/>
          <a:lstStyle/>
          <a:p>
            <a:r>
              <a:rPr lang="en-US" dirty="0"/>
              <a:t>1. Are the planned expenditures, </a:t>
            </a:r>
            <a:r>
              <a:rPr lang="en-US" dirty="0" smtClean="0"/>
              <a:t>cost/income </a:t>
            </a:r>
            <a:r>
              <a:rPr lang="en-US" dirty="0"/>
              <a:t>ratios and the resulting planned profit margins plausible developments from the past? </a:t>
            </a:r>
            <a:r>
              <a:rPr lang="en-US" dirty="0" smtClean="0"/>
              <a:t>(4/6</a:t>
            </a:r>
            <a:r>
              <a:rPr lang="en-US" dirty="0"/>
              <a:t>)</a:t>
            </a:r>
          </a:p>
        </p:txBody>
      </p:sp>
      <p:sp>
        <p:nvSpPr>
          <p:cNvPr id="3" name="Textplatzhalter 2"/>
          <p:cNvSpPr>
            <a:spLocks noGrp="1"/>
          </p:cNvSpPr>
          <p:nvPr>
            <p:ph type="body" sz="quarter" idx="13"/>
          </p:nvPr>
        </p:nvSpPr>
        <p:spPr/>
        <p:txBody>
          <a:bodyPr/>
          <a:lstStyle/>
          <a:p>
            <a:r>
              <a:rPr lang="en-US" dirty="0"/>
              <a:t>Expenditures from Gross Profit to EBIT Total Cost Method (Planning)</a:t>
            </a:r>
          </a:p>
        </p:txBody>
      </p:sp>
      <p:graphicFrame>
        <p:nvGraphicFramePr>
          <p:cNvPr id="39" name="Group 90"/>
          <p:cNvGraphicFramePr>
            <a:graphicFrameLocks noGrp="1"/>
          </p:cNvGraphicFramePr>
          <p:nvPr>
            <p:custDataLst>
              <p:tags r:id="rId1"/>
            </p:custDataLst>
            <p:extLst>
              <p:ext uri="{D42A27DB-BD31-4B8C-83A1-F6EECF244321}">
                <p14:modId xmlns:p14="http://schemas.microsoft.com/office/powerpoint/2010/main" val="2065039070"/>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3"/>
          <a:stretch>
            <a:fillRect/>
          </a:stretch>
        </p:blipFill>
        <p:spPr>
          <a:xfrm>
            <a:off x="7677443" y="5701816"/>
            <a:ext cx="340197" cy="405178"/>
          </a:xfrm>
          <a:prstGeom prst="rect">
            <a:avLst/>
          </a:prstGeom>
        </p:spPr>
      </p:pic>
      <p:pic>
        <p:nvPicPr>
          <p:cNvPr id="20" name="Grafik 19"/>
          <p:cNvPicPr>
            <a:picLocks noChangeAspect="1"/>
          </p:cNvPicPr>
          <p:nvPr/>
        </p:nvPicPr>
        <p:blipFill>
          <a:blip r:embed="rId14"/>
          <a:stretch>
            <a:fillRect/>
          </a:stretch>
        </p:blipFill>
        <p:spPr>
          <a:xfrm>
            <a:off x="7966351" y="5701816"/>
            <a:ext cx="340197" cy="405178"/>
          </a:xfrm>
          <a:prstGeom prst="rect">
            <a:avLst/>
          </a:prstGeom>
        </p:spPr>
      </p:pic>
      <p:pic>
        <p:nvPicPr>
          <p:cNvPr id="21" name="Grafik 20"/>
          <p:cNvPicPr>
            <a:picLocks noChangeAspect="1"/>
          </p:cNvPicPr>
          <p:nvPr/>
        </p:nvPicPr>
        <p:blipFill>
          <a:blip r:embed="rId15"/>
          <a:stretch>
            <a:fillRect/>
          </a:stretch>
        </p:blipFill>
        <p:spPr>
          <a:xfrm>
            <a:off x="8255259" y="5701816"/>
            <a:ext cx="340197" cy="405178"/>
          </a:xfrm>
          <a:prstGeom prst="rect">
            <a:avLst/>
          </a:prstGeom>
        </p:spPr>
      </p:pic>
      <p:pic>
        <p:nvPicPr>
          <p:cNvPr id="22" name="Grafik 21"/>
          <p:cNvPicPr>
            <a:picLocks noChangeAspect="1"/>
          </p:cNvPicPr>
          <p:nvPr/>
        </p:nvPicPr>
        <p:blipFill>
          <a:blip r:embed="rId16"/>
          <a:stretch>
            <a:fillRect/>
          </a:stretch>
        </p:blipFill>
        <p:spPr>
          <a:xfrm>
            <a:off x="8544167" y="5701816"/>
            <a:ext cx="340197" cy="405178"/>
          </a:xfrm>
          <a:prstGeom prst="rect">
            <a:avLst/>
          </a:prstGeom>
        </p:spPr>
      </p:pic>
      <p:pic>
        <p:nvPicPr>
          <p:cNvPr id="23" name="Grafik 22"/>
          <p:cNvPicPr>
            <a:picLocks noChangeAspect="1"/>
          </p:cNvPicPr>
          <p:nvPr/>
        </p:nvPicPr>
        <p:blipFill>
          <a:blip r:embed="rId17"/>
          <a:stretch>
            <a:fillRect/>
          </a:stretch>
        </p:blipFill>
        <p:spPr>
          <a:xfrm>
            <a:off x="8833075" y="5701816"/>
            <a:ext cx="340197" cy="405178"/>
          </a:xfrm>
          <a:prstGeom prst="rect">
            <a:avLst/>
          </a:prstGeom>
        </p:spPr>
      </p:pic>
      <p:pic>
        <p:nvPicPr>
          <p:cNvPr id="24" name="Grafik 23"/>
          <p:cNvPicPr>
            <a:picLocks noChangeAspect="1"/>
          </p:cNvPicPr>
          <p:nvPr/>
        </p:nvPicPr>
        <p:blipFill>
          <a:blip r:embed="rId18"/>
          <a:stretch>
            <a:fillRect/>
          </a:stretch>
        </p:blipFill>
        <p:spPr>
          <a:xfrm>
            <a:off x="9121985"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Change of EBIT margin compared to previous year</a:t>
            </a:r>
            <a:endParaRPr lang="en-US" sz="900" kern="0" dirty="0">
              <a:latin typeface="Arial" panose="020B0604020202020204" pitchFamily="34" charset="0"/>
              <a:cs typeface="Arial" panose="020B0604020202020204" pitchFamily="34" charset="0"/>
            </a:endParaRPr>
          </a:p>
        </p:txBody>
      </p:sp>
      <p:grpSp>
        <p:nvGrpSpPr>
          <p:cNvPr id="35" name="Group 2"/>
          <p:cNvGrpSpPr/>
          <p:nvPr>
            <p:custDataLst>
              <p:tags r:id="rId3"/>
            </p:custDataLst>
          </p:nvPr>
        </p:nvGrpSpPr>
        <p:grpSpPr>
          <a:xfrm>
            <a:off x="2964181" y="1672499"/>
            <a:ext cx="2598420" cy="1581241"/>
            <a:chOff x="-755730" y="5561012"/>
            <a:chExt cx="2352045" cy="1624013"/>
          </a:xfrm>
        </p:grpSpPr>
        <p:sp>
          <p:nvSpPr>
            <p:cNvPr id="36" name="Rectangle 2"/>
            <p:cNvSpPr>
              <a:spLocks noChangeArrowheads="1"/>
            </p:cNvSpPr>
            <p:nvPr>
              <p:custDataLst>
                <p:tags r:id="rId9"/>
              </p:custDataLst>
            </p:nvPr>
          </p:nvSpPr>
          <p:spPr bwMode="auto">
            <a:xfrm>
              <a:off x="190344" y="5561012"/>
              <a:ext cx="1405971"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7" name="Rectangle 2"/>
            <p:cNvSpPr>
              <a:spLocks noChangeArrowheads="1"/>
            </p:cNvSpPr>
            <p:nvPr>
              <p:custDataLst>
                <p:tags r:id="rId10"/>
              </p:custDataLst>
            </p:nvPr>
          </p:nvSpPr>
          <p:spPr bwMode="auto">
            <a:xfrm>
              <a:off x="-755730" y="5561012"/>
              <a:ext cx="893515"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pic>
        <p:nvPicPr>
          <p:cNvPr id="15" name="Grafik 14"/>
          <p:cNvPicPr>
            <a:picLocks noChangeAspect="1"/>
          </p:cNvPicPr>
          <p:nvPr>
            <p:custDataLst>
              <p:tags r:id="rId4"/>
            </p:custDataLst>
          </p:nvPr>
        </p:nvPicPr>
        <p:blipFill>
          <a:blip r:embed="rId19"/>
          <a:stretch>
            <a:fillRect/>
          </a:stretch>
        </p:blipFill>
        <p:spPr>
          <a:xfrm>
            <a:off x="2457764" y="4188894"/>
            <a:ext cx="3387600" cy="1334976"/>
          </a:xfrm>
          <a:prstGeom prst="rect">
            <a:avLst/>
          </a:prstGeom>
        </p:spPr>
      </p:pic>
      <p:pic>
        <p:nvPicPr>
          <p:cNvPr id="27" name="Grafik 26"/>
          <p:cNvPicPr>
            <a:picLocks noChangeAspect="1"/>
          </p:cNvPicPr>
          <p:nvPr>
            <p:custDataLst>
              <p:tags r:id="rId5"/>
            </p:custDataLst>
          </p:nvPr>
        </p:nvPicPr>
        <p:blipFill rotWithShape="1">
          <a:blip r:embed="rId20"/>
          <a:srcRect l="11737" t="12962" r="13966" b="9178"/>
          <a:stretch/>
        </p:blipFill>
        <p:spPr>
          <a:xfrm>
            <a:off x="2446338" y="1744981"/>
            <a:ext cx="3398835" cy="2148840"/>
          </a:xfrm>
          <a:prstGeom prst="rect">
            <a:avLst/>
          </a:prstGeom>
        </p:spPr>
      </p:pic>
      <p:sp>
        <p:nvSpPr>
          <p:cNvPr id="32" name="Rectangle 4"/>
          <p:cNvSpPr>
            <a:spLocks noChangeArrowheads="1"/>
          </p:cNvSpPr>
          <p:nvPr>
            <p:custDataLst>
              <p:tags r:id="rId6"/>
            </p:custDataLst>
          </p:nvPr>
        </p:nvSpPr>
        <p:spPr bwMode="gray">
          <a:xfrm>
            <a:off x="7763608" y="5304758"/>
            <a:ext cx="1653442" cy="320175"/>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Instead of EBIT, presentation of EBITDA may also be recommendable</a:t>
            </a:r>
          </a:p>
        </p:txBody>
      </p:sp>
      <p:pic>
        <p:nvPicPr>
          <p:cNvPr id="7" name="Grafik 6"/>
          <p:cNvPicPr>
            <a:picLocks noChangeAspect="1"/>
          </p:cNvPicPr>
          <p:nvPr>
            <p:custDataLst>
              <p:tags r:id="rId7"/>
            </p:custDataLst>
          </p:nvPr>
        </p:nvPicPr>
        <p:blipFill>
          <a:blip r:embed="rId21"/>
          <a:stretch>
            <a:fillRect/>
          </a:stretch>
        </p:blipFill>
        <p:spPr>
          <a:xfrm>
            <a:off x="-2793400" y="2152447"/>
            <a:ext cx="1999661" cy="2225233"/>
          </a:xfrm>
          <a:prstGeom prst="rect">
            <a:avLst/>
          </a:prstGeom>
        </p:spPr>
      </p:pic>
      <p:pic>
        <p:nvPicPr>
          <p:cNvPr id="10" name="Grafik 9"/>
          <p:cNvPicPr>
            <a:picLocks noChangeAspect="1"/>
          </p:cNvPicPr>
          <p:nvPr>
            <p:custDataLst>
              <p:tags r:id="rId8"/>
            </p:custDataLst>
          </p:nvPr>
        </p:nvPicPr>
        <p:blipFill>
          <a:blip r:embed="rId22"/>
          <a:stretch>
            <a:fillRect/>
          </a:stretch>
        </p:blipFill>
        <p:spPr>
          <a:xfrm>
            <a:off x="-2793400" y="4511896"/>
            <a:ext cx="1981372" cy="2225233"/>
          </a:xfrm>
          <a:prstGeom prst="rect">
            <a:avLst/>
          </a:prstGeom>
        </p:spPr>
      </p:pic>
    </p:spTree>
    <p:extLst>
      <p:ext uri="{BB962C8B-B14F-4D97-AF65-F5344CB8AC3E}">
        <p14:creationId xmlns:p14="http://schemas.microsoft.com/office/powerpoint/2010/main" val="429113953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The expected improvement of the EBIT margin in the planning period should primarily be attained by a reduction of the material cost ratio.</a:t>
            </a:r>
          </a:p>
          <a:p>
            <a:r>
              <a:rPr lang="en-US" dirty="0"/>
              <a:t>A package of measures has been developed to that end and the implementation initiated.</a:t>
            </a:r>
          </a:p>
          <a:p>
            <a:r>
              <a:rPr lang="en-US" dirty="0"/>
              <a:t>If applicable estimation realistic/ambitious/plausible/</a:t>
            </a:r>
            <a:br>
              <a:rPr lang="en-US" dirty="0"/>
            </a:br>
            <a:r>
              <a:rPr lang="en-US" dirty="0"/>
              <a:t>reproducible…</a:t>
            </a:r>
          </a:p>
        </p:txBody>
      </p:sp>
      <p:sp>
        <p:nvSpPr>
          <p:cNvPr id="5" name="Textplatzhalter 4"/>
          <p:cNvSpPr>
            <a:spLocks noGrp="1"/>
          </p:cNvSpPr>
          <p:nvPr>
            <p:ph type="body" sz="quarter" idx="12"/>
          </p:nvPr>
        </p:nvSpPr>
        <p:spPr/>
        <p:txBody>
          <a:bodyPr/>
          <a:lstStyle/>
          <a:p>
            <a:pPr>
              <a:lnSpc>
                <a:spcPct val="95000"/>
              </a:lnSpc>
              <a:spcBef>
                <a:spcPts val="300"/>
              </a:spcBef>
            </a:pPr>
            <a:r>
              <a:rPr lang="en-US" dirty="0" smtClean="0"/>
              <a:t>Change of EBIT margin</a:t>
            </a:r>
          </a:p>
          <a:p>
            <a:pPr lvl="2"/>
            <a:r>
              <a:rPr lang="en-US" dirty="0" smtClean="0"/>
              <a:t>The expected increase of the EBIT margin in the planning period is primarily attributable to the a decrease in the cost of materials ratio</a:t>
            </a:r>
          </a:p>
          <a:p>
            <a:pPr lvl="2"/>
            <a:r>
              <a:rPr lang="en-US" dirty="0" smtClean="0"/>
              <a:t>The expected improvement of the gross profit margin is caused by XXX</a:t>
            </a:r>
          </a:p>
          <a:p>
            <a:pPr lvl="2"/>
            <a:r>
              <a:rPr lang="en-US" dirty="0" smtClean="0"/>
              <a:t>The administration costs initially increase disproportionally in the course of planning compared to sales. In 2015, however, a reduction of the administration costs ratio should be attained by XXX.</a:t>
            </a:r>
            <a:endParaRPr lang="en-US" dirty="0"/>
          </a:p>
        </p:txBody>
      </p:sp>
      <p:sp>
        <p:nvSpPr>
          <p:cNvPr id="4" name="Titel 3"/>
          <p:cNvSpPr>
            <a:spLocks noGrp="1"/>
          </p:cNvSpPr>
          <p:nvPr>
            <p:ph type="title"/>
          </p:nvPr>
        </p:nvSpPr>
        <p:spPr/>
        <p:txBody>
          <a:bodyPr/>
          <a:lstStyle/>
          <a:p>
            <a:r>
              <a:rPr lang="en-US" dirty="0"/>
              <a:t>1. Are the planned expenditures, cost ratios and the resulting planned profit margins plausible developments from the past? </a:t>
            </a:r>
            <a:r>
              <a:rPr lang="en-US" dirty="0" smtClean="0"/>
              <a:t>(4/6</a:t>
            </a:r>
            <a:r>
              <a:rPr lang="en-US" dirty="0"/>
              <a:t>)</a:t>
            </a:r>
          </a:p>
        </p:txBody>
      </p:sp>
      <p:sp>
        <p:nvSpPr>
          <p:cNvPr id="3" name="Textplatzhalter 2"/>
          <p:cNvSpPr>
            <a:spLocks noGrp="1"/>
          </p:cNvSpPr>
          <p:nvPr>
            <p:ph type="body" sz="quarter" idx="13"/>
          </p:nvPr>
        </p:nvSpPr>
        <p:spPr/>
        <p:txBody>
          <a:bodyPr/>
          <a:lstStyle/>
          <a:p>
            <a:r>
              <a:rPr lang="en-US" dirty="0"/>
              <a:t>Expenditures from Gross Profit to EBIT Total Cost Method (Planning)</a:t>
            </a:r>
          </a:p>
        </p:txBody>
      </p:sp>
      <p:graphicFrame>
        <p:nvGraphicFramePr>
          <p:cNvPr id="39" name="Group 90"/>
          <p:cNvGraphicFramePr>
            <a:graphicFrameLocks noGrp="1"/>
          </p:cNvGraphicFramePr>
          <p:nvPr>
            <p:custDataLst>
              <p:tags r:id="rId1"/>
            </p:custDataLst>
            <p:extLst>
              <p:ext uri="{D42A27DB-BD31-4B8C-83A1-F6EECF244321}">
                <p14:modId xmlns:p14="http://schemas.microsoft.com/office/powerpoint/2010/main" val="4052704184"/>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3"/>
          <a:stretch>
            <a:fillRect/>
          </a:stretch>
        </p:blipFill>
        <p:spPr>
          <a:xfrm>
            <a:off x="7677443" y="5701816"/>
            <a:ext cx="340197" cy="405178"/>
          </a:xfrm>
          <a:prstGeom prst="rect">
            <a:avLst/>
          </a:prstGeom>
        </p:spPr>
      </p:pic>
      <p:pic>
        <p:nvPicPr>
          <p:cNvPr id="20" name="Grafik 19"/>
          <p:cNvPicPr>
            <a:picLocks noChangeAspect="1"/>
          </p:cNvPicPr>
          <p:nvPr/>
        </p:nvPicPr>
        <p:blipFill>
          <a:blip r:embed="rId14"/>
          <a:stretch>
            <a:fillRect/>
          </a:stretch>
        </p:blipFill>
        <p:spPr>
          <a:xfrm>
            <a:off x="7966351" y="5701816"/>
            <a:ext cx="340197" cy="405178"/>
          </a:xfrm>
          <a:prstGeom prst="rect">
            <a:avLst/>
          </a:prstGeom>
        </p:spPr>
      </p:pic>
      <p:pic>
        <p:nvPicPr>
          <p:cNvPr id="21" name="Grafik 20"/>
          <p:cNvPicPr>
            <a:picLocks noChangeAspect="1"/>
          </p:cNvPicPr>
          <p:nvPr/>
        </p:nvPicPr>
        <p:blipFill>
          <a:blip r:embed="rId15"/>
          <a:stretch>
            <a:fillRect/>
          </a:stretch>
        </p:blipFill>
        <p:spPr>
          <a:xfrm>
            <a:off x="8255259" y="5701816"/>
            <a:ext cx="340197" cy="405178"/>
          </a:xfrm>
          <a:prstGeom prst="rect">
            <a:avLst/>
          </a:prstGeom>
        </p:spPr>
      </p:pic>
      <p:pic>
        <p:nvPicPr>
          <p:cNvPr id="22" name="Grafik 21"/>
          <p:cNvPicPr>
            <a:picLocks noChangeAspect="1"/>
          </p:cNvPicPr>
          <p:nvPr/>
        </p:nvPicPr>
        <p:blipFill>
          <a:blip r:embed="rId16"/>
          <a:stretch>
            <a:fillRect/>
          </a:stretch>
        </p:blipFill>
        <p:spPr>
          <a:xfrm>
            <a:off x="8544167" y="5701816"/>
            <a:ext cx="340197" cy="405178"/>
          </a:xfrm>
          <a:prstGeom prst="rect">
            <a:avLst/>
          </a:prstGeom>
        </p:spPr>
      </p:pic>
      <p:pic>
        <p:nvPicPr>
          <p:cNvPr id="23" name="Grafik 22"/>
          <p:cNvPicPr>
            <a:picLocks noChangeAspect="1"/>
          </p:cNvPicPr>
          <p:nvPr/>
        </p:nvPicPr>
        <p:blipFill>
          <a:blip r:embed="rId17"/>
          <a:stretch>
            <a:fillRect/>
          </a:stretch>
        </p:blipFill>
        <p:spPr>
          <a:xfrm>
            <a:off x="8833075"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Change of EBIT margin compared to previous year</a:t>
            </a:r>
            <a:endParaRPr lang="en-US" sz="900" kern="0" dirty="0">
              <a:latin typeface="Arial" panose="020B0604020202020204" pitchFamily="34" charset="0"/>
              <a:cs typeface="Arial" panose="020B0604020202020204" pitchFamily="34" charset="0"/>
            </a:endParaRPr>
          </a:p>
        </p:txBody>
      </p:sp>
      <p:sp>
        <p:nvSpPr>
          <p:cNvPr id="27" name="Rechteck 26"/>
          <p:cNvSpPr/>
          <p:nvPr/>
        </p:nvSpPr>
        <p:spPr>
          <a:xfrm rot="721361">
            <a:off x="7546142" y="1056456"/>
            <a:ext cx="1910028" cy="432601"/>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900" dirty="0" smtClean="0"/>
              <a:t>Alternative presentation:</a:t>
            </a:r>
          </a:p>
          <a:p>
            <a:pPr algn="ctr"/>
            <a:r>
              <a:rPr lang="en-US" sz="900" dirty="0" smtClean="0"/>
              <a:t>Change of the gross profit margin instead of costs of sales ratio</a:t>
            </a:r>
            <a:endParaRPr lang="en-US" sz="900" dirty="0"/>
          </a:p>
        </p:txBody>
      </p:sp>
      <p:pic>
        <p:nvPicPr>
          <p:cNvPr id="28" name="Grafik 27"/>
          <p:cNvPicPr>
            <a:picLocks noChangeAspect="1"/>
          </p:cNvPicPr>
          <p:nvPr>
            <p:custDataLst>
              <p:tags r:id="rId3"/>
            </p:custDataLst>
          </p:nvPr>
        </p:nvPicPr>
        <p:blipFill>
          <a:blip r:embed="rId18"/>
          <a:stretch>
            <a:fillRect/>
          </a:stretch>
        </p:blipFill>
        <p:spPr>
          <a:xfrm>
            <a:off x="2457764" y="4188894"/>
            <a:ext cx="3387600" cy="1334976"/>
          </a:xfrm>
          <a:prstGeom prst="rect">
            <a:avLst/>
          </a:prstGeom>
        </p:spPr>
      </p:pic>
      <p:grpSp>
        <p:nvGrpSpPr>
          <p:cNvPr id="30" name="Group 2"/>
          <p:cNvGrpSpPr/>
          <p:nvPr>
            <p:custDataLst>
              <p:tags r:id="rId4"/>
            </p:custDataLst>
          </p:nvPr>
        </p:nvGrpSpPr>
        <p:grpSpPr>
          <a:xfrm>
            <a:off x="2964181" y="1672499"/>
            <a:ext cx="2598420" cy="1581241"/>
            <a:chOff x="-755730" y="5561012"/>
            <a:chExt cx="2352045" cy="1624013"/>
          </a:xfrm>
        </p:grpSpPr>
        <p:sp>
          <p:nvSpPr>
            <p:cNvPr id="31" name="Rectangle 2"/>
            <p:cNvSpPr>
              <a:spLocks noChangeArrowheads="1"/>
            </p:cNvSpPr>
            <p:nvPr>
              <p:custDataLst>
                <p:tags r:id="rId9"/>
              </p:custDataLst>
            </p:nvPr>
          </p:nvSpPr>
          <p:spPr bwMode="auto">
            <a:xfrm>
              <a:off x="190344" y="5561012"/>
              <a:ext cx="1405971"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2" name="Rectangle 2"/>
            <p:cNvSpPr>
              <a:spLocks noChangeArrowheads="1"/>
            </p:cNvSpPr>
            <p:nvPr>
              <p:custDataLst>
                <p:tags r:id="rId10"/>
              </p:custDataLst>
            </p:nvPr>
          </p:nvSpPr>
          <p:spPr bwMode="auto">
            <a:xfrm>
              <a:off x="-755730" y="5561012"/>
              <a:ext cx="893515"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pic>
        <p:nvPicPr>
          <p:cNvPr id="38" name="Grafik 37"/>
          <p:cNvPicPr>
            <a:picLocks noChangeAspect="1"/>
          </p:cNvPicPr>
          <p:nvPr>
            <p:custDataLst>
              <p:tags r:id="rId5"/>
            </p:custDataLst>
          </p:nvPr>
        </p:nvPicPr>
        <p:blipFill rotWithShape="1">
          <a:blip r:embed="rId19"/>
          <a:srcRect l="11850" t="12907" r="13829" b="7457"/>
          <a:stretch/>
        </p:blipFill>
        <p:spPr>
          <a:xfrm>
            <a:off x="2446338" y="1735303"/>
            <a:ext cx="3398836" cy="2196617"/>
          </a:xfrm>
          <a:prstGeom prst="rect">
            <a:avLst/>
          </a:prstGeom>
        </p:spPr>
      </p:pic>
      <p:sp>
        <p:nvSpPr>
          <p:cNvPr id="40" name="Rectangle 4"/>
          <p:cNvSpPr>
            <a:spLocks noChangeArrowheads="1"/>
          </p:cNvSpPr>
          <p:nvPr>
            <p:custDataLst>
              <p:tags r:id="rId6"/>
            </p:custDataLst>
          </p:nvPr>
        </p:nvSpPr>
        <p:spPr bwMode="gray">
          <a:xfrm>
            <a:off x="7763608" y="5304758"/>
            <a:ext cx="1653442" cy="320175"/>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Instead of EBIT, presentation of EBITDA may also be recommendable</a:t>
            </a:r>
          </a:p>
        </p:txBody>
      </p:sp>
      <p:pic>
        <p:nvPicPr>
          <p:cNvPr id="41" name="Grafik 40"/>
          <p:cNvPicPr>
            <a:picLocks noChangeAspect="1"/>
          </p:cNvPicPr>
          <p:nvPr/>
        </p:nvPicPr>
        <p:blipFill>
          <a:blip r:embed="rId20"/>
          <a:stretch>
            <a:fillRect/>
          </a:stretch>
        </p:blipFill>
        <p:spPr>
          <a:xfrm>
            <a:off x="9121985" y="5701816"/>
            <a:ext cx="340197" cy="405178"/>
          </a:xfrm>
          <a:prstGeom prst="rect">
            <a:avLst/>
          </a:prstGeom>
        </p:spPr>
      </p:pic>
      <p:pic>
        <p:nvPicPr>
          <p:cNvPr id="7" name="Grafik 6"/>
          <p:cNvPicPr>
            <a:picLocks noChangeAspect="1"/>
          </p:cNvPicPr>
          <p:nvPr>
            <p:custDataLst>
              <p:tags r:id="rId7"/>
            </p:custDataLst>
          </p:nvPr>
        </p:nvPicPr>
        <p:blipFill>
          <a:blip r:embed="rId21"/>
          <a:stretch>
            <a:fillRect/>
          </a:stretch>
        </p:blipFill>
        <p:spPr>
          <a:xfrm>
            <a:off x="-2793400" y="4511896"/>
            <a:ext cx="1981372" cy="2225233"/>
          </a:xfrm>
          <a:prstGeom prst="rect">
            <a:avLst/>
          </a:prstGeom>
        </p:spPr>
      </p:pic>
      <p:pic>
        <p:nvPicPr>
          <p:cNvPr id="10" name="Grafik 9"/>
          <p:cNvPicPr>
            <a:picLocks noChangeAspect="1"/>
          </p:cNvPicPr>
          <p:nvPr>
            <p:custDataLst>
              <p:tags r:id="rId8"/>
            </p:custDataLst>
          </p:nvPr>
        </p:nvPicPr>
        <p:blipFill>
          <a:blip r:embed="rId22"/>
          <a:stretch>
            <a:fillRect/>
          </a:stretch>
        </p:blipFill>
        <p:spPr>
          <a:xfrm>
            <a:off x="-2793400" y="2176830"/>
            <a:ext cx="1999661" cy="2225233"/>
          </a:xfrm>
          <a:prstGeom prst="rect">
            <a:avLst/>
          </a:prstGeom>
        </p:spPr>
      </p:pic>
    </p:spTree>
    <p:extLst>
      <p:ext uri="{BB962C8B-B14F-4D97-AF65-F5344CB8AC3E}">
        <p14:creationId xmlns:p14="http://schemas.microsoft.com/office/powerpoint/2010/main" val="236876549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The expenditures of the XXX AG are primarily for cost of sales.</a:t>
            </a:r>
          </a:p>
          <a:p>
            <a:r>
              <a:rPr lang="en-US" dirty="0"/>
              <a:t>A shift from external performance to own performance is assumed in the course of planning. </a:t>
            </a:r>
          </a:p>
          <a:p>
            <a:r>
              <a:rPr lang="en-US" dirty="0"/>
              <a:t>This appears plausible in view of the strategic reorientation approved.</a:t>
            </a:r>
          </a:p>
        </p:txBody>
      </p:sp>
      <p:sp>
        <p:nvSpPr>
          <p:cNvPr id="5" name="Textplatzhalter 4"/>
          <p:cNvSpPr>
            <a:spLocks noGrp="1"/>
          </p:cNvSpPr>
          <p:nvPr>
            <p:ph type="body" sz="quarter" idx="12"/>
          </p:nvPr>
        </p:nvSpPr>
        <p:spPr/>
        <p:txBody>
          <a:bodyPr/>
          <a:lstStyle/>
          <a:p>
            <a:pPr>
              <a:lnSpc>
                <a:spcPct val="95000"/>
              </a:lnSpc>
              <a:spcBef>
                <a:spcPts val="300"/>
              </a:spcBef>
            </a:pPr>
            <a:r>
              <a:rPr lang="en-US" dirty="0" smtClean="0"/>
              <a:t>Development of the types of expenses and cost/income ratios</a:t>
            </a:r>
          </a:p>
          <a:p>
            <a:pPr lvl="2">
              <a:lnSpc>
                <a:spcPct val="95000"/>
              </a:lnSpc>
              <a:spcBef>
                <a:spcPts val="300"/>
              </a:spcBef>
            </a:pPr>
            <a:r>
              <a:rPr lang="en-US" dirty="0" smtClean="0"/>
              <a:t>The costs of materials are primarily caused by XXX. The increase in the costs of materials originates from XXX.</a:t>
            </a:r>
          </a:p>
          <a:p>
            <a:pPr lvl="2">
              <a:lnSpc>
                <a:spcPct val="95000"/>
              </a:lnSpc>
              <a:spcBef>
                <a:spcPts val="300"/>
              </a:spcBef>
            </a:pPr>
            <a:r>
              <a:rPr lang="en-US" dirty="0" smtClean="0"/>
              <a:t>The planning of the costs of materials results on the basis of XXX</a:t>
            </a:r>
          </a:p>
          <a:p>
            <a:pPr lvl="2">
              <a:lnSpc>
                <a:spcPct val="95000"/>
              </a:lnSpc>
              <a:spcBef>
                <a:spcPts val="300"/>
              </a:spcBef>
            </a:pPr>
            <a:r>
              <a:rPr lang="en-US" dirty="0" smtClean="0"/>
              <a:t>[...Personnel expenses 1-2 bullet points...]</a:t>
            </a:r>
          </a:p>
          <a:p>
            <a:pPr lvl="2">
              <a:lnSpc>
                <a:spcPct val="95000"/>
              </a:lnSpc>
              <a:spcBef>
                <a:spcPts val="300"/>
              </a:spcBef>
            </a:pPr>
            <a:r>
              <a:rPr lang="en-US" dirty="0" smtClean="0"/>
              <a:t>[...Other operating income 1 sentence (due to subordinate importance)...]</a:t>
            </a:r>
          </a:p>
          <a:p>
            <a:pPr lvl="2">
              <a:lnSpc>
                <a:spcPct val="95000"/>
              </a:lnSpc>
              <a:spcBef>
                <a:spcPts val="300"/>
              </a:spcBef>
            </a:pPr>
            <a:r>
              <a:rPr lang="en-US" dirty="0" smtClean="0"/>
              <a:t>[...depreciation 1 sentence (due to subordinate importance) and reference to explanations capex &amp; depreciation (see Investments workbook)...]</a:t>
            </a:r>
            <a:endParaRPr lang="en-US" dirty="0"/>
          </a:p>
        </p:txBody>
      </p:sp>
      <p:sp>
        <p:nvSpPr>
          <p:cNvPr id="4" name="Titel 3"/>
          <p:cNvSpPr>
            <a:spLocks noGrp="1"/>
          </p:cNvSpPr>
          <p:nvPr>
            <p:ph type="title"/>
          </p:nvPr>
        </p:nvSpPr>
        <p:spPr/>
        <p:txBody>
          <a:bodyPr/>
          <a:lstStyle/>
          <a:p>
            <a:r>
              <a:rPr lang="en-US" dirty="0"/>
              <a:t>1. Are the planned expenditures, cost ratios and the resulting planned profit margins plausible developments from the past? </a:t>
            </a:r>
            <a:r>
              <a:rPr lang="en-US" dirty="0" smtClean="0"/>
              <a:t>(5/6</a:t>
            </a:r>
            <a:r>
              <a:rPr lang="en-US" dirty="0"/>
              <a:t>)</a:t>
            </a:r>
          </a:p>
        </p:txBody>
      </p:sp>
      <p:sp>
        <p:nvSpPr>
          <p:cNvPr id="3" name="Textplatzhalter 2"/>
          <p:cNvSpPr>
            <a:spLocks noGrp="1"/>
          </p:cNvSpPr>
          <p:nvPr>
            <p:ph type="body" sz="quarter" idx="13"/>
          </p:nvPr>
        </p:nvSpPr>
        <p:spPr/>
        <p:txBody>
          <a:bodyPr/>
          <a:lstStyle/>
          <a:p>
            <a:r>
              <a:rPr lang="en-US" dirty="0"/>
              <a:t>Expenditures from Gross Profit to EBIT Total Cost Method (Planning)</a:t>
            </a:r>
          </a:p>
        </p:txBody>
      </p:sp>
      <p:graphicFrame>
        <p:nvGraphicFramePr>
          <p:cNvPr id="39" name="Group 90"/>
          <p:cNvGraphicFramePr>
            <a:graphicFrameLocks noGrp="1"/>
          </p:cNvGraphicFramePr>
          <p:nvPr>
            <p:custDataLst>
              <p:tags r:id="rId1"/>
            </p:custDataLst>
            <p:extLst>
              <p:ext uri="{D42A27DB-BD31-4B8C-83A1-F6EECF244321}">
                <p14:modId xmlns:p14="http://schemas.microsoft.com/office/powerpoint/2010/main" val="2893636260"/>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7"/>
          <a:stretch>
            <a:fillRect/>
          </a:stretch>
        </p:blipFill>
        <p:spPr>
          <a:xfrm>
            <a:off x="7677443" y="5701816"/>
            <a:ext cx="340197" cy="405178"/>
          </a:xfrm>
          <a:prstGeom prst="rect">
            <a:avLst/>
          </a:prstGeom>
        </p:spPr>
      </p:pic>
      <p:pic>
        <p:nvPicPr>
          <p:cNvPr id="20" name="Grafik 19"/>
          <p:cNvPicPr>
            <a:picLocks noChangeAspect="1"/>
          </p:cNvPicPr>
          <p:nvPr/>
        </p:nvPicPr>
        <p:blipFill>
          <a:blip r:embed="rId18"/>
          <a:stretch>
            <a:fillRect/>
          </a:stretch>
        </p:blipFill>
        <p:spPr>
          <a:xfrm>
            <a:off x="7966351" y="5701816"/>
            <a:ext cx="340197" cy="405178"/>
          </a:xfrm>
          <a:prstGeom prst="rect">
            <a:avLst/>
          </a:prstGeom>
        </p:spPr>
      </p:pic>
      <p:pic>
        <p:nvPicPr>
          <p:cNvPr id="21" name="Grafik 20"/>
          <p:cNvPicPr>
            <a:picLocks noChangeAspect="1"/>
          </p:cNvPicPr>
          <p:nvPr/>
        </p:nvPicPr>
        <p:blipFill>
          <a:blip r:embed="rId19"/>
          <a:stretch>
            <a:fillRect/>
          </a:stretch>
        </p:blipFill>
        <p:spPr>
          <a:xfrm>
            <a:off x="8255259" y="5701816"/>
            <a:ext cx="340197" cy="405178"/>
          </a:xfrm>
          <a:prstGeom prst="rect">
            <a:avLst/>
          </a:prstGeom>
        </p:spPr>
      </p:pic>
      <p:pic>
        <p:nvPicPr>
          <p:cNvPr id="22" name="Grafik 21"/>
          <p:cNvPicPr>
            <a:picLocks noChangeAspect="1"/>
          </p:cNvPicPr>
          <p:nvPr/>
        </p:nvPicPr>
        <p:blipFill>
          <a:blip r:embed="rId20"/>
          <a:stretch>
            <a:fillRect/>
          </a:stretch>
        </p:blipFill>
        <p:spPr>
          <a:xfrm>
            <a:off x="8544167" y="5701816"/>
            <a:ext cx="340197" cy="405178"/>
          </a:xfrm>
          <a:prstGeom prst="rect">
            <a:avLst/>
          </a:prstGeom>
        </p:spPr>
      </p:pic>
      <p:pic>
        <p:nvPicPr>
          <p:cNvPr id="23" name="Grafik 22"/>
          <p:cNvPicPr>
            <a:picLocks noChangeAspect="1"/>
          </p:cNvPicPr>
          <p:nvPr/>
        </p:nvPicPr>
        <p:blipFill>
          <a:blip r:embed="rId21"/>
          <a:stretch>
            <a:fillRect/>
          </a:stretch>
        </p:blipFill>
        <p:spPr>
          <a:xfrm>
            <a:off x="8833075" y="5701816"/>
            <a:ext cx="340197" cy="405178"/>
          </a:xfrm>
          <a:prstGeom prst="rect">
            <a:avLst/>
          </a:prstGeom>
        </p:spPr>
      </p:pic>
      <p:pic>
        <p:nvPicPr>
          <p:cNvPr id="24" name="Grafik 23"/>
          <p:cNvPicPr>
            <a:picLocks noChangeAspect="1"/>
          </p:cNvPicPr>
          <p:nvPr/>
        </p:nvPicPr>
        <p:blipFill>
          <a:blip r:embed="rId22"/>
          <a:stretch>
            <a:fillRect/>
          </a:stretch>
        </p:blipFill>
        <p:spPr>
          <a:xfrm>
            <a:off x="9121985"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Composition of expenditures</a:t>
            </a:r>
            <a:endParaRPr lang="en-US" sz="900" kern="0" dirty="0">
              <a:latin typeface="Arial" panose="020B0604020202020204" pitchFamily="34" charset="0"/>
              <a:cs typeface="Arial" panose="020B0604020202020204" pitchFamily="34" charset="0"/>
            </a:endParaRPr>
          </a:p>
        </p:txBody>
      </p:sp>
      <p:grpSp>
        <p:nvGrpSpPr>
          <p:cNvPr id="35" name="Group 2"/>
          <p:cNvGrpSpPr/>
          <p:nvPr>
            <p:custDataLst>
              <p:tags r:id="rId3"/>
            </p:custDataLst>
          </p:nvPr>
        </p:nvGrpSpPr>
        <p:grpSpPr>
          <a:xfrm>
            <a:off x="2910328" y="1676401"/>
            <a:ext cx="2858012" cy="1569720"/>
            <a:chOff x="-755730" y="5561012"/>
            <a:chExt cx="2174657" cy="1624013"/>
          </a:xfrm>
        </p:grpSpPr>
        <p:sp>
          <p:nvSpPr>
            <p:cNvPr id="36" name="Rectangle 2"/>
            <p:cNvSpPr>
              <a:spLocks noChangeArrowheads="1"/>
            </p:cNvSpPr>
            <p:nvPr>
              <p:custDataLst>
                <p:tags r:id="rId13"/>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7" name="Rectangle 2"/>
            <p:cNvSpPr>
              <a:spLocks noChangeArrowheads="1"/>
            </p:cNvSpPr>
            <p:nvPr>
              <p:custDataLst>
                <p:tags r:id="rId14"/>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sp>
        <p:nvSpPr>
          <p:cNvPr id="27" name="Text Placeholder 12"/>
          <p:cNvSpPr txBox="1">
            <a:spLocks/>
          </p:cNvSpPr>
          <p:nvPr>
            <p:custDataLst>
              <p:tags r:id="rId4"/>
            </p:custDataLst>
          </p:nvPr>
        </p:nvSpPr>
        <p:spPr>
          <a:xfrm>
            <a:off x="2446338" y="3818252"/>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Development of the cost/income ratios</a:t>
            </a:r>
          </a:p>
        </p:txBody>
      </p:sp>
      <p:sp>
        <p:nvSpPr>
          <p:cNvPr id="30" name="Rectangle 4"/>
          <p:cNvSpPr>
            <a:spLocks noChangeArrowheads="1"/>
          </p:cNvSpPr>
          <p:nvPr>
            <p:custDataLst>
              <p:tags r:id="rId5"/>
            </p:custDataLst>
          </p:nvPr>
        </p:nvSpPr>
        <p:spPr bwMode="gray">
          <a:xfrm>
            <a:off x="7763608" y="5082541"/>
            <a:ext cx="1653442" cy="595730"/>
          </a:xfrm>
          <a:prstGeom prst="rect">
            <a:avLst/>
          </a:prstGeom>
          <a:solidFill>
            <a:srgbClr val="BC204B"/>
          </a:solidFill>
          <a:ln w="6350">
            <a:noFill/>
            <a:miter lim="800000"/>
            <a:headEnd/>
            <a:tailEnd/>
          </a:ln>
          <a:effectLst/>
        </p:spPr>
        <p:txBody>
          <a:bodyPr lIns="54000" tIns="54000" rIns="54000" bIns="54000" anchor="ctr" anchorCtr="1"/>
          <a:lstStyle/>
          <a:p>
            <a:pPr algn="ctr"/>
            <a:r>
              <a:rPr lang="en-US" sz="700" dirty="0">
                <a:solidFill>
                  <a:schemeClr val="bg1"/>
                </a:solidFill>
              </a:rPr>
              <a:t>These should be </a:t>
            </a:r>
            <a:r>
              <a:rPr lang="en-US" sz="700" dirty="0" smtClean="0">
                <a:solidFill>
                  <a:schemeClr val="bg1"/>
                </a:solidFill>
              </a:rPr>
              <a:t>analyzed </a:t>
            </a:r>
            <a:r>
              <a:rPr lang="en-US" sz="700" dirty="0">
                <a:solidFill>
                  <a:schemeClr val="bg1"/>
                </a:solidFill>
              </a:rPr>
              <a:t>and presented separately (compositions, development, etc.) in cases of major changes of individual types of expenses with impacts on margins.</a:t>
            </a:r>
          </a:p>
        </p:txBody>
      </p:sp>
      <p:grpSp>
        <p:nvGrpSpPr>
          <p:cNvPr id="29" name="Group 2"/>
          <p:cNvGrpSpPr/>
          <p:nvPr>
            <p:custDataLst>
              <p:tags r:id="rId6"/>
            </p:custDataLst>
          </p:nvPr>
        </p:nvGrpSpPr>
        <p:grpSpPr>
          <a:xfrm>
            <a:off x="2910328" y="4002058"/>
            <a:ext cx="2858012" cy="1569720"/>
            <a:chOff x="-755730" y="5561012"/>
            <a:chExt cx="2174657" cy="1624013"/>
          </a:xfrm>
        </p:grpSpPr>
        <p:sp>
          <p:nvSpPr>
            <p:cNvPr id="31" name="Rectangle 2"/>
            <p:cNvSpPr>
              <a:spLocks noChangeArrowheads="1"/>
            </p:cNvSpPr>
            <p:nvPr>
              <p:custDataLst>
                <p:tags r:id="rId11"/>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2" name="Rectangle 2"/>
            <p:cNvSpPr>
              <a:spLocks noChangeArrowheads="1"/>
            </p:cNvSpPr>
            <p:nvPr>
              <p:custDataLst>
                <p:tags r:id="rId12"/>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pic>
        <p:nvPicPr>
          <p:cNvPr id="33" name="Grafik 32"/>
          <p:cNvPicPr>
            <a:picLocks noChangeAspect="1"/>
          </p:cNvPicPr>
          <p:nvPr>
            <p:custDataLst>
              <p:tags r:id="rId7"/>
            </p:custDataLst>
          </p:nvPr>
        </p:nvPicPr>
        <p:blipFill rotWithShape="1">
          <a:blip r:embed="rId23"/>
          <a:srcRect l="1861" t="11855" r="5138" b="19596"/>
          <a:stretch/>
        </p:blipFill>
        <p:spPr>
          <a:xfrm>
            <a:off x="2453641" y="1737361"/>
            <a:ext cx="3459480" cy="1889760"/>
          </a:xfrm>
          <a:prstGeom prst="rect">
            <a:avLst/>
          </a:prstGeom>
        </p:spPr>
      </p:pic>
      <p:pic>
        <p:nvPicPr>
          <p:cNvPr id="34" name="Grafik 33"/>
          <p:cNvPicPr>
            <a:picLocks noChangeAspect="1"/>
          </p:cNvPicPr>
          <p:nvPr>
            <p:custDataLst>
              <p:tags r:id="rId8"/>
            </p:custDataLst>
          </p:nvPr>
        </p:nvPicPr>
        <p:blipFill rotWithShape="1">
          <a:blip r:embed="rId24"/>
          <a:srcRect l="4507" t="12405" r="6221" b="20192"/>
          <a:stretch/>
        </p:blipFill>
        <p:spPr>
          <a:xfrm>
            <a:off x="2446020" y="4015739"/>
            <a:ext cx="3573780" cy="1912621"/>
          </a:xfrm>
          <a:prstGeom prst="rect">
            <a:avLst/>
          </a:prstGeom>
        </p:spPr>
      </p:pic>
      <p:pic>
        <p:nvPicPr>
          <p:cNvPr id="7" name="Grafik 6"/>
          <p:cNvPicPr>
            <a:picLocks noChangeAspect="1"/>
          </p:cNvPicPr>
          <p:nvPr>
            <p:custDataLst>
              <p:tags r:id="rId9"/>
            </p:custDataLst>
          </p:nvPr>
        </p:nvPicPr>
        <p:blipFill>
          <a:blip r:embed="rId25"/>
          <a:stretch>
            <a:fillRect/>
          </a:stretch>
        </p:blipFill>
        <p:spPr>
          <a:xfrm>
            <a:off x="-2762920" y="1821390"/>
            <a:ext cx="1999661" cy="2225233"/>
          </a:xfrm>
          <a:prstGeom prst="rect">
            <a:avLst/>
          </a:prstGeom>
        </p:spPr>
      </p:pic>
      <p:pic>
        <p:nvPicPr>
          <p:cNvPr id="10" name="Grafik 9"/>
          <p:cNvPicPr>
            <a:picLocks noChangeAspect="1"/>
          </p:cNvPicPr>
          <p:nvPr>
            <p:custDataLst>
              <p:tags r:id="rId10"/>
            </p:custDataLst>
          </p:nvPr>
        </p:nvPicPr>
        <p:blipFill>
          <a:blip r:embed="rId26"/>
          <a:stretch>
            <a:fillRect/>
          </a:stretch>
        </p:blipFill>
        <p:spPr>
          <a:xfrm>
            <a:off x="-2762920" y="4209847"/>
            <a:ext cx="1999661" cy="2219136"/>
          </a:xfrm>
          <a:prstGeom prst="rect">
            <a:avLst/>
          </a:prstGeom>
        </p:spPr>
      </p:pic>
    </p:spTree>
    <p:extLst>
      <p:ext uri="{BB962C8B-B14F-4D97-AF65-F5344CB8AC3E}">
        <p14:creationId xmlns:p14="http://schemas.microsoft.com/office/powerpoint/2010/main" val="277246517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The major portion of the intended cost reductions have been based on measures.</a:t>
            </a:r>
          </a:p>
          <a:p>
            <a:r>
              <a:rPr lang="en-US" noProof="0" dirty="0"/>
              <a:t>With regard to the cost reduction measures, the major portion are for XXX.</a:t>
            </a:r>
          </a:p>
        </p:txBody>
      </p:sp>
      <p:sp>
        <p:nvSpPr>
          <p:cNvPr id="5" name="Textplatzhalter 4"/>
          <p:cNvSpPr>
            <a:spLocks noGrp="1"/>
          </p:cNvSpPr>
          <p:nvPr>
            <p:ph type="body" sz="quarter" idx="12"/>
          </p:nvPr>
        </p:nvSpPr>
        <p:spPr/>
        <p:txBody>
          <a:bodyPr/>
          <a:lstStyle/>
          <a:p>
            <a:pPr>
              <a:lnSpc>
                <a:spcPct val="95000"/>
              </a:lnSpc>
              <a:spcBef>
                <a:spcPts val="300"/>
              </a:spcBef>
            </a:pPr>
            <a:r>
              <a:rPr lang="en-US" noProof="0" dirty="0" smtClean="0"/>
              <a:t>Measures planned</a:t>
            </a:r>
          </a:p>
          <a:p>
            <a:pPr lvl="2"/>
            <a:r>
              <a:rPr lang="en-US" noProof="0" dirty="0" smtClean="0"/>
              <a:t>60% of the cost reductions considered in the planning are based on measures. For the remaining 40%, it is intended to develop measures in the framework of XXX by YYY.</a:t>
            </a:r>
          </a:p>
          <a:p>
            <a:pPr lvl="2"/>
            <a:r>
              <a:rPr lang="en-US" noProof="0" dirty="0" smtClean="0"/>
              <a:t>The cost reduction measures approved to date primarily contain a successive reduction of the personnel by XXX with a cost reduction effect of €XX million in the planning period. Furthermore, by means of renegotiating with vendors, savings of €YY million should be attained.</a:t>
            </a:r>
          </a:p>
          <a:p>
            <a:pPr lvl="2"/>
            <a:r>
              <a:rPr lang="en-US" noProof="0" dirty="0" smtClean="0"/>
              <a:t>[...description of measure 1 (length corresponds to importance)...]</a:t>
            </a:r>
          </a:p>
          <a:p>
            <a:pPr lvl="2"/>
            <a:r>
              <a:rPr lang="en-US" noProof="0" dirty="0" smtClean="0"/>
              <a:t>[...description of measure 2 (length corresponds to importance)...]</a:t>
            </a:r>
          </a:p>
          <a:p>
            <a:pPr lvl="2"/>
            <a:r>
              <a:rPr lang="en-US" noProof="0" dirty="0" smtClean="0"/>
              <a:t>[...description of measure 3 (length corresponds to importance)...]</a:t>
            </a:r>
            <a:endParaRPr lang="en-US" noProof="0" dirty="0"/>
          </a:p>
        </p:txBody>
      </p:sp>
      <p:sp>
        <p:nvSpPr>
          <p:cNvPr id="4" name="Titel 3"/>
          <p:cNvSpPr>
            <a:spLocks noGrp="1"/>
          </p:cNvSpPr>
          <p:nvPr>
            <p:ph type="title"/>
          </p:nvPr>
        </p:nvSpPr>
        <p:spPr/>
        <p:txBody>
          <a:bodyPr/>
          <a:lstStyle/>
          <a:p>
            <a:r>
              <a:rPr lang="en-US" noProof="0" dirty="0"/>
              <a:t>1. Are the planned expenditures, </a:t>
            </a:r>
            <a:r>
              <a:rPr lang="en-US" noProof="0" dirty="0" smtClean="0"/>
              <a:t>cost/income </a:t>
            </a:r>
            <a:r>
              <a:rPr lang="en-US" noProof="0" dirty="0"/>
              <a:t>ratios and the resulting planned profit margins plausible developments from the past? </a:t>
            </a:r>
            <a:r>
              <a:rPr lang="en-US" noProof="0" dirty="0" smtClean="0"/>
              <a:t>(6/6</a:t>
            </a:r>
            <a:r>
              <a:rPr lang="en-US" noProof="0" dirty="0"/>
              <a:t>)</a:t>
            </a:r>
          </a:p>
        </p:txBody>
      </p:sp>
      <p:sp>
        <p:nvSpPr>
          <p:cNvPr id="3" name="Textplatzhalter 2"/>
          <p:cNvSpPr>
            <a:spLocks noGrp="1"/>
          </p:cNvSpPr>
          <p:nvPr>
            <p:ph type="body" sz="quarter" idx="13"/>
          </p:nvPr>
        </p:nvSpPr>
        <p:spPr/>
        <p:txBody>
          <a:bodyPr/>
          <a:lstStyle/>
          <a:p>
            <a:r>
              <a:rPr lang="en-US" noProof="0" dirty="0"/>
              <a:t>Expenditures from Gross Profit to EBIT Total Cost Method (Planning)</a:t>
            </a:r>
          </a:p>
        </p:txBody>
      </p:sp>
      <p:graphicFrame>
        <p:nvGraphicFramePr>
          <p:cNvPr id="39"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7"/>
          <a:stretch>
            <a:fillRect/>
          </a:stretch>
        </p:blipFill>
        <p:spPr>
          <a:xfrm>
            <a:off x="7677443" y="5701816"/>
            <a:ext cx="340197" cy="405178"/>
          </a:xfrm>
          <a:prstGeom prst="rect">
            <a:avLst/>
          </a:prstGeom>
        </p:spPr>
      </p:pic>
      <p:pic>
        <p:nvPicPr>
          <p:cNvPr id="20" name="Grafik 19"/>
          <p:cNvPicPr>
            <a:picLocks noChangeAspect="1"/>
          </p:cNvPicPr>
          <p:nvPr/>
        </p:nvPicPr>
        <p:blipFill>
          <a:blip r:embed="rId8"/>
          <a:stretch>
            <a:fillRect/>
          </a:stretch>
        </p:blipFill>
        <p:spPr>
          <a:xfrm>
            <a:off x="7966351" y="5701816"/>
            <a:ext cx="340197" cy="405178"/>
          </a:xfrm>
          <a:prstGeom prst="rect">
            <a:avLst/>
          </a:prstGeom>
        </p:spPr>
      </p:pic>
      <p:pic>
        <p:nvPicPr>
          <p:cNvPr id="21" name="Grafik 20"/>
          <p:cNvPicPr>
            <a:picLocks noChangeAspect="1"/>
          </p:cNvPicPr>
          <p:nvPr/>
        </p:nvPicPr>
        <p:blipFill>
          <a:blip r:embed="rId9"/>
          <a:stretch>
            <a:fillRect/>
          </a:stretch>
        </p:blipFill>
        <p:spPr>
          <a:xfrm>
            <a:off x="8255259" y="5701816"/>
            <a:ext cx="340197" cy="405178"/>
          </a:xfrm>
          <a:prstGeom prst="rect">
            <a:avLst/>
          </a:prstGeom>
        </p:spPr>
      </p:pic>
      <p:pic>
        <p:nvPicPr>
          <p:cNvPr id="22" name="Grafik 21"/>
          <p:cNvPicPr>
            <a:picLocks noChangeAspect="1"/>
          </p:cNvPicPr>
          <p:nvPr/>
        </p:nvPicPr>
        <p:blipFill>
          <a:blip r:embed="rId10"/>
          <a:stretch>
            <a:fillRect/>
          </a:stretch>
        </p:blipFill>
        <p:spPr>
          <a:xfrm>
            <a:off x="8544167" y="5701816"/>
            <a:ext cx="340197" cy="405178"/>
          </a:xfrm>
          <a:prstGeom prst="rect">
            <a:avLst/>
          </a:prstGeom>
        </p:spPr>
      </p:pic>
      <p:pic>
        <p:nvPicPr>
          <p:cNvPr id="23" name="Grafik 22"/>
          <p:cNvPicPr>
            <a:picLocks noChangeAspect="1"/>
          </p:cNvPicPr>
          <p:nvPr/>
        </p:nvPicPr>
        <p:blipFill>
          <a:blip r:embed="rId11"/>
          <a:stretch>
            <a:fillRect/>
          </a:stretch>
        </p:blipFill>
        <p:spPr>
          <a:xfrm>
            <a:off x="8833075" y="5701816"/>
            <a:ext cx="340197" cy="405178"/>
          </a:xfrm>
          <a:prstGeom prst="rect">
            <a:avLst/>
          </a:prstGeom>
        </p:spPr>
      </p:pic>
      <p:pic>
        <p:nvPicPr>
          <p:cNvPr id="24" name="Grafik 23"/>
          <p:cNvPicPr>
            <a:picLocks noChangeAspect="1"/>
          </p:cNvPicPr>
          <p:nvPr/>
        </p:nvPicPr>
        <p:blipFill>
          <a:blip r:embed="rId12"/>
          <a:stretch>
            <a:fillRect/>
          </a:stretch>
        </p:blipFill>
        <p:spPr>
          <a:xfrm>
            <a:off x="9121985"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Cost reduction measures</a:t>
            </a:r>
          </a:p>
        </p:txBody>
      </p:sp>
      <p:pic>
        <p:nvPicPr>
          <p:cNvPr id="8" name="Grafik 7"/>
          <p:cNvPicPr>
            <a:picLocks noChangeAspect="1"/>
          </p:cNvPicPr>
          <p:nvPr>
            <p:custDataLst>
              <p:tags r:id="rId3"/>
            </p:custDataLst>
          </p:nvPr>
        </p:nvPicPr>
        <p:blipFill>
          <a:blip r:embed="rId13"/>
          <a:stretch>
            <a:fillRect/>
          </a:stretch>
        </p:blipFill>
        <p:spPr>
          <a:xfrm>
            <a:off x="2422934" y="1670358"/>
            <a:ext cx="4166306" cy="3023508"/>
          </a:xfrm>
          <a:prstGeom prst="rect">
            <a:avLst/>
          </a:prstGeom>
        </p:spPr>
      </p:pic>
      <p:pic>
        <p:nvPicPr>
          <p:cNvPr id="7" name="Grafik 6"/>
          <p:cNvPicPr>
            <a:picLocks noChangeAspect="1"/>
          </p:cNvPicPr>
          <p:nvPr>
            <p:custDataLst>
              <p:tags r:id="rId4"/>
            </p:custDataLst>
          </p:nvPr>
        </p:nvPicPr>
        <p:blipFill>
          <a:blip r:embed="rId14"/>
          <a:stretch>
            <a:fillRect/>
          </a:stretch>
        </p:blipFill>
        <p:spPr>
          <a:xfrm>
            <a:off x="-2793400" y="2045008"/>
            <a:ext cx="1999661" cy="2225233"/>
          </a:xfrm>
          <a:prstGeom prst="rect">
            <a:avLst/>
          </a:prstGeom>
        </p:spPr>
      </p:pic>
    </p:spTree>
    <p:extLst>
      <p:ext uri="{BB962C8B-B14F-4D97-AF65-F5344CB8AC3E}">
        <p14:creationId xmlns:p14="http://schemas.microsoft.com/office/powerpoint/2010/main" val="59932879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The planned EBIT margin of the XXX AG is higher than that of the competitors’ average.</a:t>
            </a:r>
          </a:p>
          <a:p>
            <a:r>
              <a:rPr lang="en-US" noProof="0" dirty="0"/>
              <a:t>The expected development of the EBIT margin in the planning period shows a comparative trend for the competitors.</a:t>
            </a:r>
          </a:p>
          <a:p>
            <a:r>
              <a:rPr lang="en-US" noProof="0" dirty="0"/>
              <a:t>The margin expectation lies above…, by approx. x %-points, also above the average expectations of the analysts for the XXX AG.</a:t>
            </a:r>
          </a:p>
          <a:p>
            <a:r>
              <a:rPr lang="en-US" noProof="0" dirty="0"/>
              <a:t>Based on the statements above, we consider the planned EBIT margin of the XXX AG to be ambitious/ optimistic/realistic/plausible</a:t>
            </a:r>
            <a:r>
              <a:rPr lang="en-US" noProof="0" dirty="0" smtClean="0"/>
              <a:t>/</a:t>
            </a:r>
            <a:br>
              <a:rPr lang="en-US" noProof="0" dirty="0" smtClean="0"/>
            </a:br>
            <a:r>
              <a:rPr lang="en-US" noProof="0" dirty="0" smtClean="0"/>
              <a:t>conservative/cautious</a:t>
            </a:r>
            <a:r>
              <a:rPr lang="en-US" noProof="0" dirty="0"/>
              <a:t>/….</a:t>
            </a:r>
          </a:p>
        </p:txBody>
      </p:sp>
      <p:sp>
        <p:nvSpPr>
          <p:cNvPr id="5" name="Textplatzhalter 4"/>
          <p:cNvSpPr>
            <a:spLocks noGrp="1"/>
          </p:cNvSpPr>
          <p:nvPr>
            <p:ph type="body" sz="quarter" idx="12"/>
          </p:nvPr>
        </p:nvSpPr>
        <p:spPr/>
        <p:txBody>
          <a:bodyPr/>
          <a:lstStyle/>
          <a:p>
            <a:pPr lvl="2">
              <a:lnSpc>
                <a:spcPct val="95000"/>
              </a:lnSpc>
              <a:spcBef>
                <a:spcPts val="300"/>
              </a:spcBef>
            </a:pPr>
            <a:r>
              <a:rPr lang="en-US" noProof="0" dirty="0" smtClean="0"/>
              <a:t>Competitors of the XXX AG show an EBIT margin in a range of X% to Y%. The expected margin for the XXX AG is within this range, above the average. This has already been the case in the past.</a:t>
            </a:r>
          </a:p>
          <a:p>
            <a:pPr lvl="2">
              <a:lnSpc>
                <a:spcPct val="95000"/>
              </a:lnSpc>
              <a:spcBef>
                <a:spcPts val="300"/>
              </a:spcBef>
            </a:pPr>
            <a:r>
              <a:rPr lang="en-US" noProof="0" dirty="0" smtClean="0"/>
              <a:t>The reasons for the above-average margin of the XXX AG compared to the competition are XXX</a:t>
            </a:r>
          </a:p>
          <a:p>
            <a:pPr lvl="2">
              <a:lnSpc>
                <a:spcPct val="95000"/>
              </a:lnSpc>
              <a:spcBef>
                <a:spcPts val="300"/>
              </a:spcBef>
            </a:pPr>
            <a:r>
              <a:rPr lang="en-US" noProof="0" dirty="0" smtClean="0"/>
              <a:t>Increasing margins are expected for all the competitors in the future. This coincides with the expectations of the XXX AG</a:t>
            </a:r>
          </a:p>
          <a:p>
            <a:pPr marL="0" lvl="2" indent="0">
              <a:lnSpc>
                <a:spcPct val="95000"/>
              </a:lnSpc>
              <a:spcBef>
                <a:spcPts val="300"/>
              </a:spcBef>
              <a:buNone/>
            </a:pPr>
            <a:endParaRPr lang="en-US" noProof="0" dirty="0" smtClean="0"/>
          </a:p>
          <a:p>
            <a:pPr marL="0" lvl="2" indent="0">
              <a:lnSpc>
                <a:spcPct val="95000"/>
              </a:lnSpc>
              <a:spcBef>
                <a:spcPts val="300"/>
              </a:spcBef>
              <a:buNone/>
            </a:pPr>
            <a:endParaRPr lang="en-US" noProof="0" dirty="0" smtClean="0"/>
          </a:p>
          <a:p>
            <a:pPr marL="0" lvl="2" indent="0">
              <a:lnSpc>
                <a:spcPct val="95000"/>
              </a:lnSpc>
              <a:spcBef>
                <a:spcPts val="300"/>
              </a:spcBef>
              <a:buNone/>
            </a:pPr>
            <a:endParaRPr lang="en-US" noProof="0" dirty="0" smtClean="0"/>
          </a:p>
          <a:p>
            <a:pPr lvl="2">
              <a:lnSpc>
                <a:spcPct val="95000"/>
              </a:lnSpc>
              <a:spcBef>
                <a:spcPts val="300"/>
              </a:spcBef>
            </a:pPr>
            <a:endParaRPr lang="en-US" noProof="0" dirty="0" smtClean="0"/>
          </a:p>
          <a:p>
            <a:pPr lvl="2">
              <a:lnSpc>
                <a:spcPct val="95000"/>
              </a:lnSpc>
              <a:spcBef>
                <a:spcPts val="300"/>
              </a:spcBef>
            </a:pPr>
            <a:r>
              <a:rPr lang="en-US" noProof="0" dirty="0" smtClean="0"/>
              <a:t>Analysts expect on average a, for the most part, constant EBIT margin of 16% for the XXX AG and therefore below the margin expectations of the XXX AG.</a:t>
            </a:r>
          </a:p>
          <a:p>
            <a:pPr lvl="2">
              <a:lnSpc>
                <a:spcPct val="95000"/>
              </a:lnSpc>
              <a:spcBef>
                <a:spcPts val="300"/>
              </a:spcBef>
            </a:pPr>
            <a:r>
              <a:rPr lang="en-US" noProof="0" dirty="0" smtClean="0"/>
              <a:t>The expectations of the analysts with regard to the amount and trend of the EBIT margin are, however, not uniform. The margin expectations of the analysts range from X% to Y%. This means, in some cases rising margins, in other cases falling </a:t>
            </a:r>
            <a:br>
              <a:rPr lang="en-US" noProof="0" dirty="0" smtClean="0"/>
            </a:br>
            <a:r>
              <a:rPr lang="en-US" noProof="0" dirty="0" smtClean="0"/>
              <a:t>margins are expected.</a:t>
            </a:r>
          </a:p>
          <a:p>
            <a:pPr lvl="2">
              <a:lnSpc>
                <a:spcPct val="95000"/>
              </a:lnSpc>
              <a:spcBef>
                <a:spcPts val="300"/>
              </a:spcBef>
            </a:pPr>
            <a:r>
              <a:rPr lang="en-US" noProof="0" dirty="0" smtClean="0"/>
              <a:t>The reasons for the heterogeneity of the analysts </a:t>
            </a:r>
            <a:br>
              <a:rPr lang="en-US" noProof="0" dirty="0" smtClean="0"/>
            </a:br>
            <a:r>
              <a:rPr lang="en-US" noProof="0" dirty="0" smtClean="0"/>
              <a:t>predictions are the differing expectations with regard </a:t>
            </a:r>
            <a:br>
              <a:rPr lang="en-US" noProof="0" dirty="0" smtClean="0"/>
            </a:br>
            <a:r>
              <a:rPr lang="en-US" noProof="0" dirty="0" smtClean="0"/>
              <a:t>to XXX</a:t>
            </a:r>
          </a:p>
          <a:p>
            <a:pPr lvl="2">
              <a:lnSpc>
                <a:spcPct val="95000"/>
              </a:lnSpc>
              <a:spcBef>
                <a:spcPts val="300"/>
              </a:spcBef>
            </a:pPr>
            <a:endParaRPr lang="en-US" noProof="0" dirty="0"/>
          </a:p>
        </p:txBody>
      </p:sp>
      <p:sp>
        <p:nvSpPr>
          <p:cNvPr id="4" name="Titel 3"/>
          <p:cNvSpPr>
            <a:spLocks noGrp="1"/>
          </p:cNvSpPr>
          <p:nvPr>
            <p:ph type="title"/>
          </p:nvPr>
        </p:nvSpPr>
        <p:spPr/>
        <p:txBody>
          <a:bodyPr/>
          <a:lstStyle/>
          <a:p>
            <a:r>
              <a:rPr lang="en-US" noProof="0" dirty="0" smtClean="0"/>
              <a:t>2. Are the planned types of expenditures and the resulting margins </a:t>
            </a:r>
            <a:br>
              <a:rPr lang="en-US" noProof="0" dirty="0" smtClean="0"/>
            </a:br>
            <a:r>
              <a:rPr lang="en-US" noProof="0" dirty="0" smtClean="0"/>
              <a:t>consistent with the market expectations?</a:t>
            </a:r>
            <a:endParaRPr lang="en-US" noProof="0" dirty="0"/>
          </a:p>
        </p:txBody>
      </p:sp>
      <p:sp>
        <p:nvSpPr>
          <p:cNvPr id="3" name="Textplatzhalter 2"/>
          <p:cNvSpPr>
            <a:spLocks noGrp="1"/>
          </p:cNvSpPr>
          <p:nvPr>
            <p:ph type="body" sz="quarter" idx="13"/>
          </p:nvPr>
        </p:nvSpPr>
        <p:spPr/>
        <p:txBody>
          <a:bodyPr/>
          <a:lstStyle/>
          <a:p>
            <a:r>
              <a:rPr lang="en-US" noProof="0" dirty="0"/>
              <a:t>Expenditures from Gross Profit to EBIT Total Cost Method (Planning)</a:t>
            </a:r>
          </a:p>
        </p:txBody>
      </p:sp>
      <p:graphicFrame>
        <p:nvGraphicFramePr>
          <p:cNvPr id="39"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0"/>
          <a:stretch>
            <a:fillRect/>
          </a:stretch>
        </p:blipFill>
        <p:spPr>
          <a:xfrm>
            <a:off x="7677443" y="5701816"/>
            <a:ext cx="340197" cy="405178"/>
          </a:xfrm>
          <a:prstGeom prst="rect">
            <a:avLst/>
          </a:prstGeom>
        </p:spPr>
      </p:pic>
      <p:pic>
        <p:nvPicPr>
          <p:cNvPr id="20" name="Grafik 19"/>
          <p:cNvPicPr>
            <a:picLocks noChangeAspect="1"/>
          </p:cNvPicPr>
          <p:nvPr/>
        </p:nvPicPr>
        <p:blipFill>
          <a:blip r:embed="rId11"/>
          <a:stretch>
            <a:fillRect/>
          </a:stretch>
        </p:blipFill>
        <p:spPr>
          <a:xfrm>
            <a:off x="7966351" y="5701816"/>
            <a:ext cx="340197" cy="405178"/>
          </a:xfrm>
          <a:prstGeom prst="rect">
            <a:avLst/>
          </a:prstGeom>
        </p:spPr>
      </p:pic>
      <p:pic>
        <p:nvPicPr>
          <p:cNvPr id="21" name="Grafik 20"/>
          <p:cNvPicPr>
            <a:picLocks noChangeAspect="1"/>
          </p:cNvPicPr>
          <p:nvPr/>
        </p:nvPicPr>
        <p:blipFill>
          <a:blip r:embed="rId12"/>
          <a:stretch>
            <a:fillRect/>
          </a:stretch>
        </p:blipFill>
        <p:spPr>
          <a:xfrm>
            <a:off x="8255259" y="5701816"/>
            <a:ext cx="340197" cy="405178"/>
          </a:xfrm>
          <a:prstGeom prst="rect">
            <a:avLst/>
          </a:prstGeom>
        </p:spPr>
      </p:pic>
      <p:pic>
        <p:nvPicPr>
          <p:cNvPr id="22" name="Grafik 21"/>
          <p:cNvPicPr>
            <a:picLocks noChangeAspect="1"/>
          </p:cNvPicPr>
          <p:nvPr/>
        </p:nvPicPr>
        <p:blipFill>
          <a:blip r:embed="rId13">
            <a:duotone>
              <a:schemeClr val="bg2">
                <a:shade val="45000"/>
                <a:satMod val="135000"/>
              </a:schemeClr>
              <a:prstClr val="white"/>
            </a:duotone>
          </a:blip>
          <a:stretch>
            <a:fillRect/>
          </a:stretch>
        </p:blipFill>
        <p:spPr>
          <a:xfrm>
            <a:off x="8544167" y="5701816"/>
            <a:ext cx="340197" cy="405178"/>
          </a:xfrm>
          <a:prstGeom prst="rect">
            <a:avLst/>
          </a:prstGeom>
        </p:spPr>
      </p:pic>
      <p:pic>
        <p:nvPicPr>
          <p:cNvPr id="23" name="Grafik 22"/>
          <p:cNvPicPr>
            <a:picLocks noChangeAspect="1"/>
          </p:cNvPicPr>
          <p:nvPr/>
        </p:nvPicPr>
        <p:blipFill>
          <a:blip r:embed="rId14"/>
          <a:stretch>
            <a:fillRect/>
          </a:stretch>
        </p:blipFill>
        <p:spPr>
          <a:xfrm>
            <a:off x="8833075" y="5701816"/>
            <a:ext cx="340197" cy="405178"/>
          </a:xfrm>
          <a:prstGeom prst="rect">
            <a:avLst/>
          </a:prstGeom>
        </p:spPr>
      </p:pic>
      <p:pic>
        <p:nvPicPr>
          <p:cNvPr id="24" name="Grafik 23"/>
          <p:cNvPicPr>
            <a:picLocks noChangeAspect="1"/>
          </p:cNvPicPr>
          <p:nvPr/>
        </p:nvPicPr>
        <p:blipFill>
          <a:blip r:embed="rId15">
            <a:duotone>
              <a:schemeClr val="bg2">
                <a:shade val="45000"/>
                <a:satMod val="135000"/>
              </a:schemeClr>
              <a:prstClr val="white"/>
            </a:duotone>
          </a:blip>
          <a:stretch>
            <a:fillRect/>
          </a:stretch>
        </p:blipFill>
        <p:spPr>
          <a:xfrm>
            <a:off x="9121985"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EBIT margin in comparison to peer group</a:t>
            </a:r>
          </a:p>
        </p:txBody>
      </p:sp>
      <p:sp>
        <p:nvSpPr>
          <p:cNvPr id="16" name="Text Placeholder 12"/>
          <p:cNvSpPr txBox="1">
            <a:spLocks/>
          </p:cNvSpPr>
          <p:nvPr>
            <p:custDataLst>
              <p:tags r:id="rId3"/>
            </p:custDataLst>
          </p:nvPr>
        </p:nvSpPr>
        <p:spPr>
          <a:xfrm>
            <a:off x="2447922" y="3822699"/>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EBIT margin in comparison to analysts' expectations</a:t>
            </a:r>
          </a:p>
        </p:txBody>
      </p:sp>
      <p:pic>
        <p:nvPicPr>
          <p:cNvPr id="12" name="Grafik 11"/>
          <p:cNvPicPr>
            <a:picLocks noChangeAspect="1"/>
          </p:cNvPicPr>
          <p:nvPr>
            <p:custDataLst>
              <p:tags r:id="rId4"/>
            </p:custDataLst>
          </p:nvPr>
        </p:nvPicPr>
        <p:blipFill>
          <a:blip r:embed="rId16"/>
          <a:stretch>
            <a:fillRect/>
          </a:stretch>
        </p:blipFill>
        <p:spPr>
          <a:xfrm>
            <a:off x="2359022" y="3822699"/>
            <a:ext cx="4436034" cy="2691288"/>
          </a:xfrm>
          <a:prstGeom prst="rect">
            <a:avLst/>
          </a:prstGeom>
        </p:spPr>
      </p:pic>
      <p:pic>
        <p:nvPicPr>
          <p:cNvPr id="7" name="Grafik 6"/>
          <p:cNvPicPr>
            <a:picLocks noChangeAspect="1"/>
          </p:cNvPicPr>
          <p:nvPr>
            <p:custDataLst>
              <p:tags r:id="rId5"/>
            </p:custDataLst>
          </p:nvPr>
        </p:nvPicPr>
        <p:blipFill>
          <a:blip r:embed="rId17"/>
          <a:stretch>
            <a:fillRect/>
          </a:stretch>
        </p:blipFill>
        <p:spPr>
          <a:xfrm>
            <a:off x="-2738567" y="1422400"/>
            <a:ext cx="1999661" cy="2225233"/>
          </a:xfrm>
          <a:prstGeom prst="rect">
            <a:avLst/>
          </a:prstGeom>
        </p:spPr>
      </p:pic>
      <p:pic>
        <p:nvPicPr>
          <p:cNvPr id="9" name="Grafik 8"/>
          <p:cNvPicPr>
            <a:picLocks noChangeAspect="1"/>
          </p:cNvPicPr>
          <p:nvPr>
            <p:custDataLst>
              <p:tags r:id="rId6"/>
            </p:custDataLst>
          </p:nvPr>
        </p:nvPicPr>
        <p:blipFill>
          <a:blip r:embed="rId18"/>
          <a:stretch>
            <a:fillRect/>
          </a:stretch>
        </p:blipFill>
        <p:spPr>
          <a:xfrm>
            <a:off x="-2738567" y="3795829"/>
            <a:ext cx="1999661" cy="2219136"/>
          </a:xfrm>
          <a:prstGeom prst="rect">
            <a:avLst/>
          </a:prstGeom>
        </p:spPr>
      </p:pic>
      <p:pic>
        <p:nvPicPr>
          <p:cNvPr id="25" name="Grafik 24"/>
          <p:cNvPicPr>
            <a:picLocks noChangeAspect="1"/>
          </p:cNvPicPr>
          <p:nvPr>
            <p:custDataLst>
              <p:tags r:id="rId7"/>
            </p:custDataLst>
          </p:nvPr>
        </p:nvPicPr>
        <p:blipFill rotWithShape="1">
          <a:blip r:embed="rId19"/>
          <a:srcRect l="2143" t="12877" r="19105" b="15742"/>
          <a:stretch/>
        </p:blipFill>
        <p:spPr>
          <a:xfrm>
            <a:off x="2446337" y="1607127"/>
            <a:ext cx="3501881" cy="1995056"/>
          </a:xfrm>
          <a:prstGeom prst="rect">
            <a:avLst/>
          </a:prstGeom>
        </p:spPr>
      </p:pic>
    </p:spTree>
    <p:extLst>
      <p:ext uri="{BB962C8B-B14F-4D97-AF65-F5344CB8AC3E}">
        <p14:creationId xmlns:p14="http://schemas.microsoft.com/office/powerpoint/2010/main" val="16808898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In view of the current business development, the 2013 budget appears to be very ambitious.</a:t>
            </a:r>
          </a:p>
          <a:p>
            <a:r>
              <a:rPr lang="en-US" noProof="0" dirty="0"/>
              <a:t>The current forecast reflects the results that were below the budget for 2013.</a:t>
            </a:r>
          </a:p>
          <a:p>
            <a:r>
              <a:rPr lang="en-US" noProof="0" dirty="0"/>
              <a:t>No consequences are expected for the other planning years.</a:t>
            </a:r>
          </a:p>
        </p:txBody>
      </p:sp>
      <p:sp>
        <p:nvSpPr>
          <p:cNvPr id="5" name="Textplatzhalter 4"/>
          <p:cNvSpPr>
            <a:spLocks noGrp="1"/>
          </p:cNvSpPr>
          <p:nvPr>
            <p:ph type="body" sz="quarter" idx="12"/>
          </p:nvPr>
        </p:nvSpPr>
        <p:spPr/>
        <p:txBody>
          <a:bodyPr/>
          <a:lstStyle/>
          <a:p>
            <a:r>
              <a:rPr lang="en-US" noProof="0" dirty="0" smtClean="0"/>
              <a:t>Current business development</a:t>
            </a:r>
          </a:p>
          <a:p>
            <a:pPr lvl="2"/>
            <a:r>
              <a:rPr lang="en-US" noProof="0" dirty="0" smtClean="0"/>
              <a:t>The current business development in the first half of 2013 is below the expectations of the XXX AG. This is primarily due to XXX.</a:t>
            </a:r>
          </a:p>
          <a:p>
            <a:pPr lvl="2"/>
            <a:r>
              <a:rPr lang="en-US" noProof="0" dirty="0" smtClean="0"/>
              <a:t>The current business development that is below expectations is also reflected in the adjusted forecast, which is below the budget. The sales expected is now €x.x million or ca. X% and the EBITDA ca. €x.x million or ca. X% below budget.</a:t>
            </a:r>
          </a:p>
          <a:p>
            <a:pPr lvl="2"/>
            <a:r>
              <a:rPr lang="en-US" noProof="0" dirty="0" smtClean="0"/>
              <a:t>In the forecast of the EBITDA, it should be noted that along with the business development, there are personnel costs above expectations due to the early conclusion of the collective bargaining agreement and encumbrances from the litigation XXX.</a:t>
            </a:r>
          </a:p>
          <a:p>
            <a:pPr lvl="2"/>
            <a:r>
              <a:rPr lang="en-US" noProof="0" dirty="0" smtClean="0"/>
              <a:t>The management of XXX AG does not expect any consequences for the planning years 2014 and 2015 to result from the failure to meet the budget in 2013. We agree to this estimation on the basis of the information provided to us and with the analyses we performed.</a:t>
            </a:r>
          </a:p>
          <a:p>
            <a:pPr lvl="2">
              <a:lnSpc>
                <a:spcPct val="95000"/>
              </a:lnSpc>
              <a:spcBef>
                <a:spcPts val="300"/>
              </a:spcBef>
            </a:pPr>
            <a:endParaRPr lang="en-US" noProof="0" dirty="0"/>
          </a:p>
        </p:txBody>
      </p:sp>
      <p:sp>
        <p:nvSpPr>
          <p:cNvPr id="4" name="Titel 3"/>
          <p:cNvSpPr>
            <a:spLocks noGrp="1"/>
          </p:cNvSpPr>
          <p:nvPr>
            <p:ph type="title"/>
          </p:nvPr>
        </p:nvSpPr>
        <p:spPr/>
        <p:txBody>
          <a:bodyPr/>
          <a:lstStyle/>
          <a:p>
            <a:r>
              <a:rPr lang="en-US" noProof="0" dirty="0"/>
              <a:t>3. Does the current trading/LTM or the current forecast support </a:t>
            </a:r>
            <a:br>
              <a:rPr lang="en-US" noProof="0" dirty="0"/>
            </a:br>
            <a:r>
              <a:rPr lang="en-US" noProof="0" dirty="0"/>
              <a:t>the cost and profit planning? (1/3)</a:t>
            </a:r>
          </a:p>
        </p:txBody>
      </p:sp>
      <p:sp>
        <p:nvSpPr>
          <p:cNvPr id="3" name="Textplatzhalter 2"/>
          <p:cNvSpPr>
            <a:spLocks noGrp="1"/>
          </p:cNvSpPr>
          <p:nvPr>
            <p:ph type="body" sz="quarter" idx="13"/>
          </p:nvPr>
        </p:nvSpPr>
        <p:spPr/>
        <p:txBody>
          <a:bodyPr/>
          <a:lstStyle/>
          <a:p>
            <a:r>
              <a:rPr lang="en-US" noProof="0" dirty="0"/>
              <a:t>Expenditures from Gross Profit to EBIT Total Cost Method (Planning)</a:t>
            </a:r>
          </a:p>
        </p:txBody>
      </p:sp>
      <p:graphicFrame>
        <p:nvGraphicFramePr>
          <p:cNvPr id="39"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9">
            <a:duotone>
              <a:schemeClr val="bg2">
                <a:shade val="45000"/>
                <a:satMod val="135000"/>
              </a:schemeClr>
              <a:prstClr val="white"/>
            </a:duotone>
          </a:blip>
          <a:stretch>
            <a:fillRect/>
          </a:stretch>
        </p:blipFill>
        <p:spPr>
          <a:xfrm>
            <a:off x="7677443" y="5701816"/>
            <a:ext cx="340197" cy="405178"/>
          </a:xfrm>
          <a:prstGeom prst="rect">
            <a:avLst/>
          </a:prstGeom>
        </p:spPr>
      </p:pic>
      <p:pic>
        <p:nvPicPr>
          <p:cNvPr id="20" name="Grafik 19"/>
          <p:cNvPicPr>
            <a:picLocks noChangeAspect="1"/>
          </p:cNvPicPr>
          <p:nvPr/>
        </p:nvPicPr>
        <p:blipFill>
          <a:blip r:embed="rId10">
            <a:duotone>
              <a:schemeClr val="bg2">
                <a:shade val="45000"/>
                <a:satMod val="135000"/>
              </a:schemeClr>
              <a:prstClr val="white"/>
            </a:duotone>
          </a:blip>
          <a:stretch>
            <a:fillRect/>
          </a:stretch>
        </p:blipFill>
        <p:spPr>
          <a:xfrm>
            <a:off x="7966351" y="5701816"/>
            <a:ext cx="340197" cy="405178"/>
          </a:xfrm>
          <a:prstGeom prst="rect">
            <a:avLst/>
          </a:prstGeom>
        </p:spPr>
      </p:pic>
      <p:pic>
        <p:nvPicPr>
          <p:cNvPr id="21" name="Grafik 20"/>
          <p:cNvPicPr>
            <a:picLocks noChangeAspect="1"/>
          </p:cNvPicPr>
          <p:nvPr/>
        </p:nvPicPr>
        <p:blipFill>
          <a:blip r:embed="rId11"/>
          <a:stretch>
            <a:fillRect/>
          </a:stretch>
        </p:blipFill>
        <p:spPr>
          <a:xfrm>
            <a:off x="8255259" y="5701816"/>
            <a:ext cx="340197" cy="405178"/>
          </a:xfrm>
          <a:prstGeom prst="rect">
            <a:avLst/>
          </a:prstGeom>
        </p:spPr>
      </p:pic>
      <p:pic>
        <p:nvPicPr>
          <p:cNvPr id="22" name="Grafik 21"/>
          <p:cNvPicPr>
            <a:picLocks noChangeAspect="1"/>
          </p:cNvPicPr>
          <p:nvPr/>
        </p:nvPicPr>
        <p:blipFill>
          <a:blip r:embed="rId12">
            <a:duotone>
              <a:schemeClr val="bg2">
                <a:shade val="45000"/>
                <a:satMod val="135000"/>
              </a:schemeClr>
              <a:prstClr val="white"/>
            </a:duotone>
          </a:blip>
          <a:stretch>
            <a:fillRect/>
          </a:stretch>
        </p:blipFill>
        <p:spPr>
          <a:xfrm>
            <a:off x="8544167" y="5701816"/>
            <a:ext cx="340197" cy="405178"/>
          </a:xfrm>
          <a:prstGeom prst="rect">
            <a:avLst/>
          </a:prstGeom>
        </p:spPr>
      </p:pic>
      <p:pic>
        <p:nvPicPr>
          <p:cNvPr id="23" name="Grafik 22"/>
          <p:cNvPicPr>
            <a:picLocks noChangeAspect="1"/>
          </p:cNvPicPr>
          <p:nvPr/>
        </p:nvPicPr>
        <p:blipFill>
          <a:blip r:embed="rId13"/>
          <a:stretch>
            <a:fillRect/>
          </a:stretch>
        </p:blipFill>
        <p:spPr>
          <a:xfrm>
            <a:off x="8833075" y="5701816"/>
            <a:ext cx="340197" cy="405178"/>
          </a:xfrm>
          <a:prstGeom prst="rect">
            <a:avLst/>
          </a:prstGeom>
        </p:spPr>
      </p:pic>
      <p:pic>
        <p:nvPicPr>
          <p:cNvPr id="24" name="Grafik 23"/>
          <p:cNvPicPr>
            <a:picLocks noChangeAspect="1"/>
          </p:cNvPicPr>
          <p:nvPr/>
        </p:nvPicPr>
        <p:blipFill>
          <a:blip r:embed="rId14">
            <a:duotone>
              <a:schemeClr val="bg2">
                <a:shade val="45000"/>
                <a:satMod val="135000"/>
              </a:schemeClr>
              <a:prstClr val="white"/>
            </a:duotone>
          </a:blip>
          <a:stretch>
            <a:fillRect/>
          </a:stretch>
        </p:blipFill>
        <p:spPr>
          <a:xfrm>
            <a:off x="9121985"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Comparison forecast vs. budget</a:t>
            </a:r>
          </a:p>
        </p:txBody>
      </p:sp>
      <p:pic>
        <p:nvPicPr>
          <p:cNvPr id="13" name="Grafik 12"/>
          <p:cNvPicPr>
            <a:picLocks noChangeAspect="1"/>
          </p:cNvPicPr>
          <p:nvPr>
            <p:custDataLst>
              <p:tags r:id="rId3"/>
            </p:custDataLst>
          </p:nvPr>
        </p:nvPicPr>
        <p:blipFill>
          <a:blip r:embed="rId15"/>
          <a:stretch>
            <a:fillRect/>
          </a:stretch>
        </p:blipFill>
        <p:spPr>
          <a:xfrm>
            <a:off x="2455818" y="3469434"/>
            <a:ext cx="3387600" cy="2569372"/>
          </a:xfrm>
          <a:prstGeom prst="rect">
            <a:avLst/>
          </a:prstGeom>
        </p:spPr>
      </p:pic>
      <p:pic>
        <p:nvPicPr>
          <p:cNvPr id="2" name="Grafik 1"/>
          <p:cNvPicPr>
            <a:picLocks noChangeAspect="1"/>
          </p:cNvPicPr>
          <p:nvPr>
            <p:custDataLst>
              <p:tags r:id="rId4"/>
            </p:custDataLst>
          </p:nvPr>
        </p:nvPicPr>
        <p:blipFill rotWithShape="1">
          <a:blip r:embed="rId16"/>
          <a:srcRect l="7158" t="4252" r="21725" b="21787"/>
          <a:stretch/>
        </p:blipFill>
        <p:spPr>
          <a:xfrm>
            <a:off x="2429691" y="1637211"/>
            <a:ext cx="3422469" cy="1750423"/>
          </a:xfrm>
          <a:prstGeom prst="rect">
            <a:avLst/>
          </a:prstGeom>
        </p:spPr>
      </p:pic>
      <p:pic>
        <p:nvPicPr>
          <p:cNvPr id="8" name="Grafik 7"/>
          <p:cNvPicPr>
            <a:picLocks noChangeAspect="1"/>
          </p:cNvPicPr>
          <p:nvPr>
            <p:custDataLst>
              <p:tags r:id="rId5"/>
            </p:custDataLst>
          </p:nvPr>
        </p:nvPicPr>
        <p:blipFill>
          <a:blip r:embed="rId17"/>
          <a:stretch>
            <a:fillRect/>
          </a:stretch>
        </p:blipFill>
        <p:spPr>
          <a:xfrm>
            <a:off x="-2793400" y="3601814"/>
            <a:ext cx="1975275" cy="2219136"/>
          </a:xfrm>
          <a:prstGeom prst="rect">
            <a:avLst/>
          </a:prstGeom>
        </p:spPr>
      </p:pic>
      <p:pic>
        <p:nvPicPr>
          <p:cNvPr id="11" name="Grafik 10"/>
          <p:cNvPicPr>
            <a:picLocks noChangeAspect="1"/>
          </p:cNvPicPr>
          <p:nvPr>
            <p:custDataLst>
              <p:tags r:id="rId6"/>
            </p:custDataLst>
          </p:nvPr>
        </p:nvPicPr>
        <p:blipFill>
          <a:blip r:embed="rId18"/>
          <a:stretch>
            <a:fillRect/>
          </a:stretch>
        </p:blipFill>
        <p:spPr>
          <a:xfrm>
            <a:off x="-2742492" y="840008"/>
            <a:ext cx="1981372" cy="2225233"/>
          </a:xfrm>
          <a:prstGeom prst="rect">
            <a:avLst/>
          </a:prstGeom>
        </p:spPr>
      </p:pic>
    </p:spTree>
    <p:extLst>
      <p:ext uri="{BB962C8B-B14F-4D97-AF65-F5344CB8AC3E}">
        <p14:creationId xmlns:p14="http://schemas.microsoft.com/office/powerpoint/2010/main" val="185173602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On EBITDA level budget 2013 is supported by current forecast, while EBIT is adjusted upwards in the forecast compared to budget due to lower than expected depreciation.</a:t>
            </a:r>
          </a:p>
        </p:txBody>
      </p:sp>
      <p:sp>
        <p:nvSpPr>
          <p:cNvPr id="5" name="Textplatzhalter 4"/>
          <p:cNvSpPr>
            <a:spLocks noGrp="1"/>
          </p:cNvSpPr>
          <p:nvPr>
            <p:ph type="body" sz="quarter" idx="12"/>
          </p:nvPr>
        </p:nvSpPr>
        <p:spPr>
          <a:xfrm>
            <a:off x="7271238" y="1422400"/>
            <a:ext cx="2159452" cy="4604400"/>
          </a:xfrm>
        </p:spPr>
        <p:txBody>
          <a:bodyPr/>
          <a:lstStyle/>
          <a:p>
            <a:pPr lvl="2">
              <a:lnSpc>
                <a:spcPct val="95000"/>
              </a:lnSpc>
              <a:spcBef>
                <a:spcPts val="300"/>
              </a:spcBef>
            </a:pPr>
            <a:r>
              <a:rPr lang="en-US" dirty="0" smtClean="0"/>
              <a:t>The expected EBITDA and the expected EBITDA margin for the 2013 forecast are slightly above the budgeted value. The reason for this is XXX. </a:t>
            </a:r>
          </a:p>
          <a:p>
            <a:pPr lvl="2">
              <a:lnSpc>
                <a:spcPct val="95000"/>
              </a:lnSpc>
              <a:spcBef>
                <a:spcPts val="300"/>
              </a:spcBef>
            </a:pPr>
            <a:r>
              <a:rPr lang="en-US" dirty="0" smtClean="0"/>
              <a:t>According to the management and our analyses, these effects do not have any consequences for the subsequent planning years. </a:t>
            </a:r>
          </a:p>
          <a:p>
            <a:pPr lvl="2">
              <a:lnSpc>
                <a:spcPct val="95000"/>
              </a:lnSpc>
              <a:spcBef>
                <a:spcPts val="300"/>
              </a:spcBef>
            </a:pPr>
            <a:r>
              <a:rPr lang="en-US" dirty="0" smtClean="0"/>
              <a:t>The EBIT for forecast 2013 is, with €X million ca. €X million above the budgeted value of €X million.</a:t>
            </a:r>
          </a:p>
          <a:p>
            <a:pPr lvl="2">
              <a:lnSpc>
                <a:spcPct val="95000"/>
              </a:lnSpc>
              <a:spcBef>
                <a:spcPts val="300"/>
              </a:spcBef>
            </a:pPr>
            <a:r>
              <a:rPr lang="en-US" dirty="0" smtClean="0"/>
              <a:t>The EBIT margin of the forecast 2013 is, with 17.7% ca. 0.8%-points above the budgeted value of 16.9%. </a:t>
            </a:r>
          </a:p>
          <a:p>
            <a:pPr lvl="2">
              <a:lnSpc>
                <a:spcPct val="95000"/>
              </a:lnSpc>
              <a:spcBef>
                <a:spcPts val="300"/>
              </a:spcBef>
            </a:pPr>
            <a:r>
              <a:rPr lang="en-US" dirty="0" smtClean="0"/>
              <a:t>The primary reason for this is, along with the EBITDA margin that is slightly above expectations, the depreciation that is lower than budgeted. These were caused by XXX.</a:t>
            </a:r>
          </a:p>
          <a:p>
            <a:pPr lvl="2">
              <a:lnSpc>
                <a:spcPct val="95000"/>
              </a:lnSpc>
              <a:spcBef>
                <a:spcPts val="300"/>
              </a:spcBef>
            </a:pPr>
            <a:r>
              <a:rPr lang="en-US" dirty="0" smtClean="0"/>
              <a:t>As a result of the effects described we now expect that the depreciation for the subsequent planning years will be lower. We/The management of the XXX AG have adjusted the planning appropriately.</a:t>
            </a:r>
          </a:p>
          <a:p>
            <a:pPr marL="0" lvl="2" indent="0">
              <a:lnSpc>
                <a:spcPct val="95000"/>
              </a:lnSpc>
              <a:spcBef>
                <a:spcPts val="300"/>
              </a:spcBef>
              <a:buNone/>
            </a:pPr>
            <a:endParaRPr lang="en-US" dirty="0" smtClean="0"/>
          </a:p>
          <a:p>
            <a:pPr lvl="2">
              <a:lnSpc>
                <a:spcPct val="95000"/>
              </a:lnSpc>
              <a:spcBef>
                <a:spcPts val="300"/>
              </a:spcBef>
            </a:pPr>
            <a:endParaRPr lang="en-US" dirty="0"/>
          </a:p>
        </p:txBody>
      </p:sp>
      <p:sp>
        <p:nvSpPr>
          <p:cNvPr id="4" name="Titel 3"/>
          <p:cNvSpPr>
            <a:spLocks noGrp="1"/>
          </p:cNvSpPr>
          <p:nvPr>
            <p:ph type="title"/>
          </p:nvPr>
        </p:nvSpPr>
        <p:spPr/>
        <p:txBody>
          <a:bodyPr/>
          <a:lstStyle/>
          <a:p>
            <a:r>
              <a:rPr lang="en-US" dirty="0"/>
              <a:t>3. Does the current trading/LTM or the current forecast support </a:t>
            </a:r>
            <a:br>
              <a:rPr lang="en-US" dirty="0"/>
            </a:br>
            <a:r>
              <a:rPr lang="en-US" dirty="0"/>
              <a:t>the cost and profit planning? </a:t>
            </a:r>
            <a:r>
              <a:rPr lang="en-US" dirty="0" smtClean="0"/>
              <a:t>(2/3</a:t>
            </a:r>
            <a:r>
              <a:rPr lang="en-US" dirty="0"/>
              <a:t>)</a:t>
            </a:r>
          </a:p>
        </p:txBody>
      </p:sp>
      <p:sp>
        <p:nvSpPr>
          <p:cNvPr id="3" name="Textplatzhalter 2"/>
          <p:cNvSpPr>
            <a:spLocks noGrp="1"/>
          </p:cNvSpPr>
          <p:nvPr>
            <p:ph type="body" sz="quarter" idx="13"/>
          </p:nvPr>
        </p:nvSpPr>
        <p:spPr/>
        <p:txBody>
          <a:bodyPr/>
          <a:lstStyle/>
          <a:p>
            <a:r>
              <a:rPr lang="en-US" dirty="0"/>
              <a:t>Expenditures from Gross Profit to EBIT Total Cost Method (Planning)</a:t>
            </a:r>
          </a:p>
        </p:txBody>
      </p:sp>
      <p:graphicFrame>
        <p:nvGraphicFramePr>
          <p:cNvPr id="39" name="Group 90"/>
          <p:cNvGraphicFramePr>
            <a:graphicFrameLocks noGrp="1"/>
          </p:cNvGraphicFramePr>
          <p:nvPr>
            <p:custDataLst>
              <p:tags r:id="rId1"/>
            </p:custDataLst>
            <p:extLst>
              <p:ext uri="{D42A27DB-BD31-4B8C-83A1-F6EECF244321}">
                <p14:modId xmlns:p14="http://schemas.microsoft.com/office/powerpoint/2010/main" val="4132033330"/>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6">
            <a:duotone>
              <a:schemeClr val="bg2">
                <a:shade val="45000"/>
                <a:satMod val="135000"/>
              </a:schemeClr>
              <a:prstClr val="white"/>
            </a:duotone>
          </a:blip>
          <a:stretch>
            <a:fillRect/>
          </a:stretch>
        </p:blipFill>
        <p:spPr>
          <a:xfrm>
            <a:off x="7677443" y="5701816"/>
            <a:ext cx="340197" cy="405178"/>
          </a:xfrm>
          <a:prstGeom prst="rect">
            <a:avLst/>
          </a:prstGeom>
        </p:spPr>
      </p:pic>
      <p:pic>
        <p:nvPicPr>
          <p:cNvPr id="20" name="Grafik 19"/>
          <p:cNvPicPr>
            <a:picLocks noChangeAspect="1"/>
          </p:cNvPicPr>
          <p:nvPr/>
        </p:nvPicPr>
        <p:blipFill>
          <a:blip r:embed="rId17">
            <a:duotone>
              <a:schemeClr val="bg2">
                <a:shade val="45000"/>
                <a:satMod val="135000"/>
              </a:schemeClr>
              <a:prstClr val="white"/>
            </a:duotone>
          </a:blip>
          <a:stretch>
            <a:fillRect/>
          </a:stretch>
        </p:blipFill>
        <p:spPr>
          <a:xfrm>
            <a:off x="7966351" y="5701816"/>
            <a:ext cx="340197" cy="405178"/>
          </a:xfrm>
          <a:prstGeom prst="rect">
            <a:avLst/>
          </a:prstGeom>
        </p:spPr>
      </p:pic>
      <p:pic>
        <p:nvPicPr>
          <p:cNvPr id="21" name="Grafik 20"/>
          <p:cNvPicPr>
            <a:picLocks noChangeAspect="1"/>
          </p:cNvPicPr>
          <p:nvPr/>
        </p:nvPicPr>
        <p:blipFill>
          <a:blip r:embed="rId18"/>
          <a:stretch>
            <a:fillRect/>
          </a:stretch>
        </p:blipFill>
        <p:spPr>
          <a:xfrm>
            <a:off x="8255259" y="5701816"/>
            <a:ext cx="340197" cy="405178"/>
          </a:xfrm>
          <a:prstGeom prst="rect">
            <a:avLst/>
          </a:prstGeom>
        </p:spPr>
      </p:pic>
      <p:pic>
        <p:nvPicPr>
          <p:cNvPr id="22" name="Grafik 21"/>
          <p:cNvPicPr>
            <a:picLocks noChangeAspect="1"/>
          </p:cNvPicPr>
          <p:nvPr/>
        </p:nvPicPr>
        <p:blipFill>
          <a:blip r:embed="rId19">
            <a:duotone>
              <a:schemeClr val="bg2">
                <a:shade val="45000"/>
                <a:satMod val="135000"/>
              </a:schemeClr>
              <a:prstClr val="white"/>
            </a:duotone>
          </a:blip>
          <a:stretch>
            <a:fillRect/>
          </a:stretch>
        </p:blipFill>
        <p:spPr>
          <a:xfrm>
            <a:off x="8544167" y="5701816"/>
            <a:ext cx="340197" cy="405178"/>
          </a:xfrm>
          <a:prstGeom prst="rect">
            <a:avLst/>
          </a:prstGeom>
        </p:spPr>
      </p:pic>
      <p:pic>
        <p:nvPicPr>
          <p:cNvPr id="23" name="Grafik 22"/>
          <p:cNvPicPr>
            <a:picLocks noChangeAspect="1"/>
          </p:cNvPicPr>
          <p:nvPr/>
        </p:nvPicPr>
        <p:blipFill>
          <a:blip r:embed="rId20"/>
          <a:stretch>
            <a:fillRect/>
          </a:stretch>
        </p:blipFill>
        <p:spPr>
          <a:xfrm>
            <a:off x="8833075" y="5701816"/>
            <a:ext cx="340197" cy="405178"/>
          </a:xfrm>
          <a:prstGeom prst="rect">
            <a:avLst/>
          </a:prstGeom>
        </p:spPr>
      </p:pic>
      <p:pic>
        <p:nvPicPr>
          <p:cNvPr id="24" name="Grafik 23"/>
          <p:cNvPicPr>
            <a:picLocks noChangeAspect="1"/>
          </p:cNvPicPr>
          <p:nvPr/>
        </p:nvPicPr>
        <p:blipFill>
          <a:blip r:embed="rId21">
            <a:duotone>
              <a:schemeClr val="bg2">
                <a:shade val="45000"/>
                <a:satMod val="135000"/>
              </a:schemeClr>
              <a:prstClr val="white"/>
            </a:duotone>
          </a:blip>
          <a:stretch>
            <a:fillRect/>
          </a:stretch>
        </p:blipFill>
        <p:spPr>
          <a:xfrm>
            <a:off x="9121985"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Comparison forecast vs. budget (absolute)</a:t>
            </a:r>
          </a:p>
        </p:txBody>
      </p:sp>
      <p:sp>
        <p:nvSpPr>
          <p:cNvPr id="18" name="Text Placeholder 12"/>
          <p:cNvSpPr txBox="1">
            <a:spLocks/>
          </p:cNvSpPr>
          <p:nvPr>
            <p:custDataLst>
              <p:tags r:id="rId3"/>
            </p:custDataLst>
          </p:nvPr>
        </p:nvSpPr>
        <p:spPr>
          <a:xfrm>
            <a:off x="2447922" y="383148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Comparison forecast vs. budget </a:t>
            </a:r>
            <a:r>
              <a:rPr lang="en-US" sz="900" kern="0" dirty="0" smtClean="0">
                <a:latin typeface="Arial" panose="020B0604020202020204" pitchFamily="34" charset="0"/>
                <a:cs typeface="Arial" panose="020B0604020202020204" pitchFamily="34" charset="0"/>
              </a:rPr>
              <a:t>(margin)</a:t>
            </a:r>
            <a:endParaRPr lang="en-US" sz="900" kern="0" dirty="0">
              <a:latin typeface="Arial" panose="020B0604020202020204" pitchFamily="34" charset="0"/>
              <a:cs typeface="Arial" panose="020B0604020202020204" pitchFamily="34" charset="0"/>
            </a:endParaRPr>
          </a:p>
        </p:txBody>
      </p:sp>
      <p:pic>
        <p:nvPicPr>
          <p:cNvPr id="2" name="Grafik 1"/>
          <p:cNvPicPr>
            <a:picLocks noChangeAspect="1"/>
          </p:cNvPicPr>
          <p:nvPr>
            <p:custDataLst>
              <p:tags r:id="rId4"/>
            </p:custDataLst>
          </p:nvPr>
        </p:nvPicPr>
        <p:blipFill rotWithShape="1">
          <a:blip r:embed="rId22"/>
          <a:srcRect l="4878" t="13568" b="15748"/>
          <a:stretch/>
        </p:blipFill>
        <p:spPr>
          <a:xfrm>
            <a:off x="2447109" y="1715589"/>
            <a:ext cx="4756242" cy="1907177"/>
          </a:xfrm>
          <a:prstGeom prst="rect">
            <a:avLst/>
          </a:prstGeom>
        </p:spPr>
      </p:pic>
      <p:pic>
        <p:nvPicPr>
          <p:cNvPr id="9" name="Grafik 8"/>
          <p:cNvPicPr>
            <a:picLocks noChangeAspect="1"/>
          </p:cNvPicPr>
          <p:nvPr>
            <p:custDataLst>
              <p:tags r:id="rId5"/>
            </p:custDataLst>
          </p:nvPr>
        </p:nvPicPr>
        <p:blipFill rotWithShape="1">
          <a:blip r:embed="rId23"/>
          <a:srcRect l="4476" t="15552" b="15483"/>
          <a:stretch/>
        </p:blipFill>
        <p:spPr>
          <a:xfrm>
            <a:off x="2447108" y="4153989"/>
            <a:ext cx="4790551" cy="1863634"/>
          </a:xfrm>
          <a:prstGeom prst="rect">
            <a:avLst/>
          </a:prstGeom>
        </p:spPr>
      </p:pic>
      <p:grpSp>
        <p:nvGrpSpPr>
          <p:cNvPr id="25" name="Group 2"/>
          <p:cNvGrpSpPr/>
          <p:nvPr>
            <p:custDataLst>
              <p:tags r:id="rId6"/>
            </p:custDataLst>
          </p:nvPr>
        </p:nvGrpSpPr>
        <p:grpSpPr>
          <a:xfrm>
            <a:off x="2875493" y="1632857"/>
            <a:ext cx="4100073" cy="1635555"/>
            <a:chOff x="-755730" y="5561012"/>
            <a:chExt cx="2107512" cy="1624013"/>
          </a:xfrm>
        </p:grpSpPr>
        <p:sp>
          <p:nvSpPr>
            <p:cNvPr id="27" name="Rectangle 2"/>
            <p:cNvSpPr>
              <a:spLocks noChangeArrowheads="1"/>
            </p:cNvSpPr>
            <p:nvPr>
              <p:custDataLst>
                <p:tags r:id="rId12"/>
              </p:custDataLst>
            </p:nvPr>
          </p:nvSpPr>
          <p:spPr bwMode="auto">
            <a:xfrm>
              <a:off x="657945" y="5561012"/>
              <a:ext cx="693837"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rofit</a:t>
              </a:r>
              <a:endParaRPr lang="en-US" sz="800" dirty="0"/>
            </a:p>
          </p:txBody>
        </p:sp>
        <p:sp>
          <p:nvSpPr>
            <p:cNvPr id="28" name="Rectangle 2"/>
            <p:cNvSpPr>
              <a:spLocks noChangeArrowheads="1"/>
            </p:cNvSpPr>
            <p:nvPr>
              <p:custDataLst>
                <p:tags r:id="rId13"/>
              </p:custDataLst>
            </p:nvPr>
          </p:nvSpPr>
          <p:spPr bwMode="auto">
            <a:xfrm>
              <a:off x="-755730" y="5561012"/>
              <a:ext cx="1395770"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Expenses</a:t>
              </a:r>
              <a:endParaRPr lang="en-US" sz="800" dirty="0"/>
            </a:p>
          </p:txBody>
        </p:sp>
      </p:grpSp>
      <p:grpSp>
        <p:nvGrpSpPr>
          <p:cNvPr id="29" name="Group 2"/>
          <p:cNvGrpSpPr/>
          <p:nvPr>
            <p:custDataLst>
              <p:tags r:id="rId7"/>
            </p:custDataLst>
          </p:nvPr>
        </p:nvGrpSpPr>
        <p:grpSpPr>
          <a:xfrm>
            <a:off x="2906744" y="4059850"/>
            <a:ext cx="4100073" cy="1635555"/>
            <a:chOff x="-755730" y="5561012"/>
            <a:chExt cx="2107512" cy="1624013"/>
          </a:xfrm>
        </p:grpSpPr>
        <p:sp>
          <p:nvSpPr>
            <p:cNvPr id="30" name="Rectangle 2"/>
            <p:cNvSpPr>
              <a:spLocks noChangeArrowheads="1"/>
            </p:cNvSpPr>
            <p:nvPr>
              <p:custDataLst>
                <p:tags r:id="rId10"/>
              </p:custDataLst>
            </p:nvPr>
          </p:nvSpPr>
          <p:spPr bwMode="auto">
            <a:xfrm>
              <a:off x="657945" y="5561012"/>
              <a:ext cx="693837"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rofit</a:t>
              </a:r>
              <a:endParaRPr lang="en-US" sz="800" dirty="0"/>
            </a:p>
          </p:txBody>
        </p:sp>
        <p:sp>
          <p:nvSpPr>
            <p:cNvPr id="31" name="Rectangle 2"/>
            <p:cNvSpPr>
              <a:spLocks noChangeArrowheads="1"/>
            </p:cNvSpPr>
            <p:nvPr>
              <p:custDataLst>
                <p:tags r:id="rId11"/>
              </p:custDataLst>
            </p:nvPr>
          </p:nvSpPr>
          <p:spPr bwMode="auto">
            <a:xfrm>
              <a:off x="-755730" y="5561012"/>
              <a:ext cx="1395770"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Expenses</a:t>
              </a:r>
              <a:endParaRPr lang="en-US" sz="800" dirty="0"/>
            </a:p>
          </p:txBody>
        </p:sp>
      </p:grpSp>
      <p:pic>
        <p:nvPicPr>
          <p:cNvPr id="10" name="Grafik 9"/>
          <p:cNvPicPr>
            <a:picLocks noChangeAspect="1"/>
          </p:cNvPicPr>
          <p:nvPr>
            <p:custDataLst>
              <p:tags r:id="rId8"/>
            </p:custDataLst>
          </p:nvPr>
        </p:nvPicPr>
        <p:blipFill>
          <a:blip r:embed="rId24"/>
          <a:stretch>
            <a:fillRect/>
          </a:stretch>
        </p:blipFill>
        <p:spPr>
          <a:xfrm>
            <a:off x="-2793400" y="3578982"/>
            <a:ext cx="1981372" cy="2225233"/>
          </a:xfrm>
          <a:prstGeom prst="rect">
            <a:avLst/>
          </a:prstGeom>
        </p:spPr>
      </p:pic>
      <p:pic>
        <p:nvPicPr>
          <p:cNvPr id="12" name="Grafik 11"/>
          <p:cNvPicPr>
            <a:picLocks noChangeAspect="1"/>
          </p:cNvPicPr>
          <p:nvPr>
            <p:custDataLst>
              <p:tags r:id="rId9"/>
            </p:custDataLst>
          </p:nvPr>
        </p:nvPicPr>
        <p:blipFill>
          <a:blip r:embed="rId25"/>
          <a:stretch>
            <a:fillRect/>
          </a:stretch>
        </p:blipFill>
        <p:spPr>
          <a:xfrm>
            <a:off x="-2793400" y="1177925"/>
            <a:ext cx="1981372" cy="2225233"/>
          </a:xfrm>
          <a:prstGeom prst="rect">
            <a:avLst/>
          </a:prstGeom>
        </p:spPr>
      </p:pic>
    </p:spTree>
    <p:extLst>
      <p:ext uri="{BB962C8B-B14F-4D97-AF65-F5344CB8AC3E}">
        <p14:creationId xmlns:p14="http://schemas.microsoft.com/office/powerpoint/2010/main" val="173184731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The XXX AG already has ca. two-thirds of the budget for 2013 in the first half year. The reason for this is the high percentage of the Easter business on the entire annual success. The degree of budget attained for the first half year is comparable to the figure of the previous year. </a:t>
            </a:r>
          </a:p>
          <a:p>
            <a:r>
              <a:rPr lang="en-US" noProof="0" dirty="0"/>
              <a:t>On the basis of the current profit situation, it is expected that the 2013 budget will be attained.</a:t>
            </a:r>
          </a:p>
        </p:txBody>
      </p:sp>
      <p:sp>
        <p:nvSpPr>
          <p:cNvPr id="5" name="Textplatzhalter 4"/>
          <p:cNvSpPr>
            <a:spLocks noGrp="1"/>
          </p:cNvSpPr>
          <p:nvPr>
            <p:ph type="body" sz="quarter" idx="12"/>
          </p:nvPr>
        </p:nvSpPr>
        <p:spPr/>
        <p:txBody>
          <a:bodyPr/>
          <a:lstStyle/>
          <a:p>
            <a:pPr>
              <a:lnSpc>
                <a:spcPct val="95000"/>
              </a:lnSpc>
              <a:spcBef>
                <a:spcPts val="300"/>
              </a:spcBef>
            </a:pPr>
            <a:r>
              <a:rPr lang="en-US" noProof="0" dirty="0" smtClean="0"/>
              <a:t>Description</a:t>
            </a:r>
          </a:p>
          <a:p>
            <a:pPr lvl="2">
              <a:lnSpc>
                <a:spcPct val="95000"/>
              </a:lnSpc>
              <a:spcBef>
                <a:spcPts val="300"/>
              </a:spcBef>
            </a:pPr>
            <a:r>
              <a:rPr lang="en-US" noProof="0" dirty="0" smtClean="0"/>
              <a:t>xxx</a:t>
            </a:r>
          </a:p>
          <a:p>
            <a:pPr lvl="2">
              <a:lnSpc>
                <a:spcPct val="95000"/>
              </a:lnSpc>
              <a:spcBef>
                <a:spcPts val="300"/>
              </a:spcBef>
            </a:pPr>
            <a:endParaRPr lang="en-US" noProof="0" dirty="0"/>
          </a:p>
        </p:txBody>
      </p:sp>
      <p:sp>
        <p:nvSpPr>
          <p:cNvPr id="4" name="Titel 3"/>
          <p:cNvSpPr>
            <a:spLocks noGrp="1"/>
          </p:cNvSpPr>
          <p:nvPr>
            <p:ph type="title"/>
          </p:nvPr>
        </p:nvSpPr>
        <p:spPr/>
        <p:txBody>
          <a:bodyPr/>
          <a:lstStyle/>
          <a:p>
            <a:r>
              <a:rPr lang="en-US" noProof="0" dirty="0"/>
              <a:t>3. Does the current trading/LTM or the current forecast support </a:t>
            </a:r>
            <a:br>
              <a:rPr lang="en-US" noProof="0" dirty="0"/>
            </a:br>
            <a:r>
              <a:rPr lang="en-US" noProof="0" dirty="0"/>
              <a:t>the cost and profit planning? </a:t>
            </a:r>
            <a:r>
              <a:rPr lang="en-US" noProof="0" dirty="0" smtClean="0"/>
              <a:t>(3/3</a:t>
            </a:r>
            <a:r>
              <a:rPr lang="en-US" noProof="0" dirty="0"/>
              <a:t>)</a:t>
            </a:r>
          </a:p>
        </p:txBody>
      </p:sp>
      <p:sp>
        <p:nvSpPr>
          <p:cNvPr id="3" name="Textplatzhalter 2"/>
          <p:cNvSpPr>
            <a:spLocks noGrp="1"/>
          </p:cNvSpPr>
          <p:nvPr>
            <p:ph type="body" sz="quarter" idx="13"/>
          </p:nvPr>
        </p:nvSpPr>
        <p:spPr/>
        <p:txBody>
          <a:bodyPr/>
          <a:lstStyle/>
          <a:p>
            <a:r>
              <a:rPr lang="en-US" noProof="0" dirty="0"/>
              <a:t>Expenditures from Gross Profit to EBIT Total Cost Method (Planning)</a:t>
            </a:r>
          </a:p>
        </p:txBody>
      </p:sp>
      <p:graphicFrame>
        <p:nvGraphicFramePr>
          <p:cNvPr id="39"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9">
            <a:duotone>
              <a:schemeClr val="bg2">
                <a:shade val="45000"/>
                <a:satMod val="135000"/>
              </a:schemeClr>
              <a:prstClr val="white"/>
            </a:duotone>
          </a:blip>
          <a:stretch>
            <a:fillRect/>
          </a:stretch>
        </p:blipFill>
        <p:spPr>
          <a:xfrm>
            <a:off x="7677443" y="5701816"/>
            <a:ext cx="340197" cy="405178"/>
          </a:xfrm>
          <a:prstGeom prst="rect">
            <a:avLst/>
          </a:prstGeom>
        </p:spPr>
      </p:pic>
      <p:pic>
        <p:nvPicPr>
          <p:cNvPr id="20" name="Grafik 19"/>
          <p:cNvPicPr>
            <a:picLocks noChangeAspect="1"/>
          </p:cNvPicPr>
          <p:nvPr/>
        </p:nvPicPr>
        <p:blipFill>
          <a:blip r:embed="rId10">
            <a:duotone>
              <a:schemeClr val="bg2">
                <a:shade val="45000"/>
                <a:satMod val="135000"/>
              </a:schemeClr>
              <a:prstClr val="white"/>
            </a:duotone>
          </a:blip>
          <a:stretch>
            <a:fillRect/>
          </a:stretch>
        </p:blipFill>
        <p:spPr>
          <a:xfrm>
            <a:off x="7966351" y="5701816"/>
            <a:ext cx="340197" cy="405178"/>
          </a:xfrm>
          <a:prstGeom prst="rect">
            <a:avLst/>
          </a:prstGeom>
        </p:spPr>
      </p:pic>
      <p:pic>
        <p:nvPicPr>
          <p:cNvPr id="21" name="Grafik 20"/>
          <p:cNvPicPr>
            <a:picLocks noChangeAspect="1"/>
          </p:cNvPicPr>
          <p:nvPr/>
        </p:nvPicPr>
        <p:blipFill>
          <a:blip r:embed="rId11"/>
          <a:stretch>
            <a:fillRect/>
          </a:stretch>
        </p:blipFill>
        <p:spPr>
          <a:xfrm>
            <a:off x="8255259" y="5701816"/>
            <a:ext cx="340197" cy="405178"/>
          </a:xfrm>
          <a:prstGeom prst="rect">
            <a:avLst/>
          </a:prstGeom>
        </p:spPr>
      </p:pic>
      <p:pic>
        <p:nvPicPr>
          <p:cNvPr id="22" name="Grafik 21"/>
          <p:cNvPicPr>
            <a:picLocks noChangeAspect="1"/>
          </p:cNvPicPr>
          <p:nvPr/>
        </p:nvPicPr>
        <p:blipFill>
          <a:blip r:embed="rId12">
            <a:duotone>
              <a:schemeClr val="bg2">
                <a:shade val="45000"/>
                <a:satMod val="135000"/>
              </a:schemeClr>
              <a:prstClr val="white"/>
            </a:duotone>
          </a:blip>
          <a:stretch>
            <a:fillRect/>
          </a:stretch>
        </p:blipFill>
        <p:spPr>
          <a:xfrm>
            <a:off x="8544167" y="5701816"/>
            <a:ext cx="340197" cy="405178"/>
          </a:xfrm>
          <a:prstGeom prst="rect">
            <a:avLst/>
          </a:prstGeom>
        </p:spPr>
      </p:pic>
      <p:pic>
        <p:nvPicPr>
          <p:cNvPr id="23" name="Grafik 22"/>
          <p:cNvPicPr>
            <a:picLocks noChangeAspect="1"/>
          </p:cNvPicPr>
          <p:nvPr/>
        </p:nvPicPr>
        <p:blipFill>
          <a:blip r:embed="rId13"/>
          <a:stretch>
            <a:fillRect/>
          </a:stretch>
        </p:blipFill>
        <p:spPr>
          <a:xfrm>
            <a:off x="8833075" y="5701816"/>
            <a:ext cx="340197" cy="405178"/>
          </a:xfrm>
          <a:prstGeom prst="rect">
            <a:avLst/>
          </a:prstGeom>
        </p:spPr>
      </p:pic>
      <p:pic>
        <p:nvPicPr>
          <p:cNvPr id="24" name="Grafik 23"/>
          <p:cNvPicPr>
            <a:picLocks noChangeAspect="1"/>
          </p:cNvPicPr>
          <p:nvPr/>
        </p:nvPicPr>
        <p:blipFill>
          <a:blip r:embed="rId14">
            <a:duotone>
              <a:schemeClr val="bg2">
                <a:shade val="45000"/>
                <a:satMod val="135000"/>
              </a:schemeClr>
              <a:prstClr val="white"/>
            </a:duotone>
          </a:blip>
          <a:stretch>
            <a:fillRect/>
          </a:stretch>
        </p:blipFill>
        <p:spPr>
          <a:xfrm>
            <a:off x="9121985"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YTD June 2013</a:t>
            </a:r>
          </a:p>
        </p:txBody>
      </p:sp>
      <p:pic>
        <p:nvPicPr>
          <p:cNvPr id="9" name="Grafik 8"/>
          <p:cNvPicPr>
            <a:picLocks noChangeAspect="1"/>
          </p:cNvPicPr>
          <p:nvPr>
            <p:custDataLst>
              <p:tags r:id="rId3"/>
            </p:custDataLst>
          </p:nvPr>
        </p:nvPicPr>
        <p:blipFill rotWithShape="1">
          <a:blip r:embed="rId15"/>
          <a:srcRect l="2172" t="9152" r="21174" b="16783"/>
          <a:stretch/>
        </p:blipFill>
        <p:spPr>
          <a:xfrm>
            <a:off x="2447109" y="1672046"/>
            <a:ext cx="3405052" cy="2020388"/>
          </a:xfrm>
          <a:prstGeom prst="rect">
            <a:avLst/>
          </a:prstGeom>
        </p:spPr>
      </p:pic>
      <p:pic>
        <p:nvPicPr>
          <p:cNvPr id="11" name="Grafik 10"/>
          <p:cNvPicPr>
            <a:picLocks noChangeAspect="1"/>
          </p:cNvPicPr>
          <p:nvPr>
            <p:custDataLst>
              <p:tags r:id="rId4"/>
            </p:custDataLst>
          </p:nvPr>
        </p:nvPicPr>
        <p:blipFill>
          <a:blip r:embed="rId16"/>
          <a:stretch>
            <a:fillRect/>
          </a:stretch>
        </p:blipFill>
        <p:spPr>
          <a:xfrm>
            <a:off x="2457528" y="3823544"/>
            <a:ext cx="3387600" cy="1334976"/>
          </a:xfrm>
          <a:prstGeom prst="rect">
            <a:avLst/>
          </a:prstGeom>
        </p:spPr>
      </p:pic>
      <p:pic>
        <p:nvPicPr>
          <p:cNvPr id="7" name="Grafik 6"/>
          <p:cNvPicPr>
            <a:picLocks noChangeAspect="1"/>
          </p:cNvPicPr>
          <p:nvPr>
            <p:custDataLst>
              <p:tags r:id="rId5"/>
            </p:custDataLst>
          </p:nvPr>
        </p:nvPicPr>
        <p:blipFill>
          <a:blip r:embed="rId17"/>
          <a:stretch>
            <a:fillRect/>
          </a:stretch>
        </p:blipFill>
        <p:spPr>
          <a:xfrm>
            <a:off x="-2793400" y="1177925"/>
            <a:ext cx="1981372" cy="2219136"/>
          </a:xfrm>
          <a:prstGeom prst="rect">
            <a:avLst/>
          </a:prstGeom>
        </p:spPr>
      </p:pic>
      <p:pic>
        <p:nvPicPr>
          <p:cNvPr id="12" name="Grafik 11"/>
          <p:cNvPicPr>
            <a:picLocks noChangeAspect="1"/>
          </p:cNvPicPr>
          <p:nvPr>
            <p:custDataLst>
              <p:tags r:id="rId6"/>
            </p:custDataLst>
          </p:nvPr>
        </p:nvPicPr>
        <p:blipFill>
          <a:blip r:embed="rId18"/>
          <a:stretch>
            <a:fillRect/>
          </a:stretch>
        </p:blipFill>
        <p:spPr>
          <a:xfrm>
            <a:off x="-2787303" y="3595717"/>
            <a:ext cx="1975275" cy="2225233"/>
          </a:xfrm>
          <a:prstGeom prst="rect">
            <a:avLst/>
          </a:prstGeom>
        </p:spPr>
      </p:pic>
    </p:spTree>
    <p:extLst>
      <p:ext uri="{BB962C8B-B14F-4D97-AF65-F5344CB8AC3E}">
        <p14:creationId xmlns:p14="http://schemas.microsoft.com/office/powerpoint/2010/main" val="23483747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488950" y="1422400"/>
            <a:ext cx="8928100" cy="694800"/>
          </a:xfrm>
          <a:solidFill>
            <a:srgbClr val="BC204B"/>
          </a:solidFill>
        </p:spPr>
        <p:txBody>
          <a:bodyPr wrap="square" lIns="53975" tIns="53975" rIns="53975" bIns="53975">
            <a:noAutofit/>
          </a:bodyPr>
          <a:lstStyle/>
          <a:p>
            <a:r>
              <a:rPr lang="en-US" sz="1200" dirty="0">
                <a:solidFill>
                  <a:schemeClr val="bg1"/>
                </a:solidFill>
              </a:rPr>
              <a:t>The content of this workbook has been produced by KPMG Germany/Deal Advisory on the basis of German accounting standards and/or IFRS, as well as considering KPMG Germany’s firm and country requirements, regulations, processes, policies and best practices. Please check your local accounting and other requirements before applying the content.</a:t>
            </a:r>
          </a:p>
        </p:txBody>
      </p:sp>
      <p:sp>
        <p:nvSpPr>
          <p:cNvPr id="5" name="Textplatzhalter 4"/>
          <p:cNvSpPr>
            <a:spLocks noGrp="1"/>
          </p:cNvSpPr>
          <p:nvPr>
            <p:ph type="body" sz="quarter" idx="11"/>
          </p:nvPr>
        </p:nvSpPr>
        <p:spPr/>
        <p:txBody>
          <a:bodyPr/>
          <a:lstStyle/>
          <a:p>
            <a:endParaRPr lang="en-US" dirty="0"/>
          </a:p>
        </p:txBody>
      </p:sp>
      <p:sp>
        <p:nvSpPr>
          <p:cNvPr id="4" name="Titel 3"/>
          <p:cNvSpPr>
            <a:spLocks noGrp="1"/>
          </p:cNvSpPr>
          <p:nvPr>
            <p:ph type="title"/>
          </p:nvPr>
        </p:nvSpPr>
        <p:spPr/>
        <p:txBody>
          <a:bodyPr/>
          <a:lstStyle/>
          <a:p>
            <a:r>
              <a:rPr lang="en-US" noProof="0" dirty="0" smtClean="0"/>
              <a:t>Disclaimer</a:t>
            </a:r>
            <a:endParaRPr lang="en-US" sz="3600" noProof="0" dirty="0"/>
          </a:p>
        </p:txBody>
      </p:sp>
    </p:spTree>
    <p:extLst>
      <p:ext uri="{BB962C8B-B14F-4D97-AF65-F5344CB8AC3E}">
        <p14:creationId xmlns:p14="http://schemas.microsoft.com/office/powerpoint/2010/main" val="235271668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The XXX AG planning takes into consideration an increase in headcount of ca. 15% and average increases in wage rates of X% p.a.</a:t>
            </a:r>
          </a:p>
          <a:p>
            <a:r>
              <a:rPr lang="en-US" noProof="0" dirty="0"/>
              <a:t>The earnings per employee and the contribution margin per employee should increase by ca. X% or Y% in the course of planning. The reason for this is an increasing degree of automation.</a:t>
            </a:r>
          </a:p>
          <a:p>
            <a:r>
              <a:rPr lang="en-US" noProof="0" dirty="0"/>
              <a:t>We consider the personnel planning to be ambitious/ optimistic/realistic/plausible</a:t>
            </a:r>
            <a:r>
              <a:rPr lang="en-US" noProof="0" dirty="0" smtClean="0"/>
              <a:t>/</a:t>
            </a:r>
            <a:br>
              <a:rPr lang="en-US" noProof="0" dirty="0" smtClean="0"/>
            </a:br>
            <a:r>
              <a:rPr lang="en-US" noProof="0" dirty="0" smtClean="0"/>
              <a:t>conservative/cautious</a:t>
            </a:r>
            <a:r>
              <a:rPr lang="en-US" noProof="0" dirty="0"/>
              <a:t>/….</a:t>
            </a:r>
          </a:p>
        </p:txBody>
      </p:sp>
      <p:sp>
        <p:nvSpPr>
          <p:cNvPr id="5" name="Textplatzhalter 4"/>
          <p:cNvSpPr>
            <a:spLocks noGrp="1"/>
          </p:cNvSpPr>
          <p:nvPr>
            <p:ph type="body" sz="quarter" idx="12"/>
          </p:nvPr>
        </p:nvSpPr>
        <p:spPr>
          <a:xfrm>
            <a:off x="6035040" y="1422400"/>
            <a:ext cx="3382010" cy="4604400"/>
          </a:xfrm>
        </p:spPr>
        <p:txBody>
          <a:bodyPr/>
          <a:lstStyle/>
          <a:p>
            <a:pPr lvl="2">
              <a:lnSpc>
                <a:spcPct val="95000"/>
              </a:lnSpc>
              <a:spcBef>
                <a:spcPts val="300"/>
              </a:spcBef>
            </a:pPr>
            <a:r>
              <a:rPr lang="en-US" noProof="0" dirty="0" smtClean="0"/>
              <a:t>The XXX AG plans to increase headcount across all the segments. The total increase in headcount in the course of planning will be ca. 15% from 439 FTE to 506 FTE. The expansion is planned especially in the area of development engineers.</a:t>
            </a:r>
          </a:p>
          <a:p>
            <a:pPr lvl="2">
              <a:lnSpc>
                <a:spcPct val="95000"/>
              </a:lnSpc>
              <a:spcBef>
                <a:spcPts val="300"/>
              </a:spcBef>
            </a:pPr>
            <a:r>
              <a:rPr lang="en-US" noProof="0" dirty="0" smtClean="0"/>
              <a:t>The sales per FTE are initially relatively stable in the first two planning years compared to the level attained in the past. Here, a clear decrease in Segment B caused by XXX and an increase in Segment C caused by YYY compensate one another.</a:t>
            </a:r>
          </a:p>
          <a:p>
            <a:pPr lvl="2">
              <a:lnSpc>
                <a:spcPct val="95000"/>
              </a:lnSpc>
              <a:spcBef>
                <a:spcPts val="300"/>
              </a:spcBef>
            </a:pPr>
            <a:r>
              <a:rPr lang="en-US" noProof="0" dirty="0" smtClean="0"/>
              <a:t>In the final planning year, an increase in sales per FTE, caused by XXX, is expected in every segment.</a:t>
            </a:r>
          </a:p>
          <a:p>
            <a:pPr lvl="2">
              <a:lnSpc>
                <a:spcPct val="95000"/>
              </a:lnSpc>
              <a:spcBef>
                <a:spcPts val="300"/>
              </a:spcBef>
            </a:pPr>
            <a:r>
              <a:rPr lang="en-US" noProof="0" dirty="0" smtClean="0"/>
              <a:t>The average personnel expenses per FTE is highest in Segment C due to the high percentage of engineers compared to assembly line workers. As a result of the wage rates applicable group-wide and similarly planned new hires, the development of personnel expenses per FTE is comparable for all segments. The personnel expenses per FTE increases in the course of the planning period an average of X% p.a.</a:t>
            </a:r>
          </a:p>
          <a:p>
            <a:pPr lvl="2">
              <a:lnSpc>
                <a:spcPct val="95000"/>
              </a:lnSpc>
              <a:spcBef>
                <a:spcPts val="300"/>
              </a:spcBef>
            </a:pPr>
            <a:r>
              <a:rPr lang="en-US" noProof="0" dirty="0" smtClean="0"/>
              <a:t>As a result of the high degree of automation, the contribution margin per FTE is highest in Segment B as the sales per FTE. </a:t>
            </a:r>
          </a:p>
          <a:p>
            <a:pPr lvl="2">
              <a:lnSpc>
                <a:spcPct val="95000"/>
              </a:lnSpc>
              <a:spcBef>
                <a:spcPts val="300"/>
              </a:spcBef>
            </a:pPr>
            <a:r>
              <a:rPr lang="en-US" noProof="0" dirty="0" smtClean="0"/>
              <a:t>With XXX, it is expected that there will be a further expansion of the contribution margin per FTE in the planning period, while this will remain relatively constant in Segment A and will even sink in Segment B. This is caused by X and Y.</a:t>
            </a:r>
          </a:p>
          <a:p>
            <a:pPr lvl="2">
              <a:lnSpc>
                <a:spcPct val="95000"/>
              </a:lnSpc>
              <a:spcBef>
                <a:spcPts val="300"/>
              </a:spcBef>
            </a:pPr>
            <a:r>
              <a:rPr lang="en-US" noProof="0" dirty="0" smtClean="0"/>
              <a:t>Overall there is a slight increase of the contribution </a:t>
            </a:r>
            <a:br>
              <a:rPr lang="en-US" noProof="0" dirty="0" smtClean="0"/>
            </a:br>
            <a:r>
              <a:rPr lang="en-US" noProof="0" dirty="0" smtClean="0"/>
              <a:t>margin per FTE in the group of € X in 2012 </a:t>
            </a:r>
            <a:br>
              <a:rPr lang="en-US" noProof="0" dirty="0" smtClean="0"/>
            </a:br>
            <a:r>
              <a:rPr lang="en-US" noProof="0" dirty="0" smtClean="0"/>
              <a:t>to € Y in 2015.</a:t>
            </a:r>
          </a:p>
          <a:p>
            <a:pPr marL="0" lvl="2" indent="0">
              <a:lnSpc>
                <a:spcPct val="95000"/>
              </a:lnSpc>
              <a:spcBef>
                <a:spcPts val="300"/>
              </a:spcBef>
              <a:buNone/>
            </a:pPr>
            <a:endParaRPr lang="en-US" noProof="0" dirty="0"/>
          </a:p>
        </p:txBody>
      </p:sp>
      <p:sp>
        <p:nvSpPr>
          <p:cNvPr id="4" name="Titel 3"/>
          <p:cNvSpPr>
            <a:spLocks noGrp="1"/>
          </p:cNvSpPr>
          <p:nvPr>
            <p:ph type="title"/>
          </p:nvPr>
        </p:nvSpPr>
        <p:spPr/>
        <p:txBody>
          <a:bodyPr/>
          <a:lstStyle/>
          <a:p>
            <a:r>
              <a:rPr lang="en-US" noProof="0" dirty="0"/>
              <a:t>4. Are the personnel costs planned plausibly? (1/2)</a:t>
            </a:r>
          </a:p>
        </p:txBody>
      </p:sp>
      <p:sp>
        <p:nvSpPr>
          <p:cNvPr id="3" name="Textplatzhalter 2"/>
          <p:cNvSpPr>
            <a:spLocks noGrp="1"/>
          </p:cNvSpPr>
          <p:nvPr>
            <p:ph type="body" sz="quarter" idx="13"/>
          </p:nvPr>
        </p:nvSpPr>
        <p:spPr/>
        <p:txBody>
          <a:bodyPr/>
          <a:lstStyle/>
          <a:p>
            <a:r>
              <a:rPr lang="en-US" noProof="0" dirty="0"/>
              <a:t>Expenditures from Gross Profit to EBIT Total Cost Method (Planning)</a:t>
            </a:r>
          </a:p>
        </p:txBody>
      </p:sp>
      <p:graphicFrame>
        <p:nvGraphicFramePr>
          <p:cNvPr id="39"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8">
            <a:duotone>
              <a:schemeClr val="bg2">
                <a:shade val="45000"/>
                <a:satMod val="135000"/>
              </a:schemeClr>
              <a:prstClr val="white"/>
            </a:duotone>
          </a:blip>
          <a:stretch>
            <a:fillRect/>
          </a:stretch>
        </p:blipFill>
        <p:spPr>
          <a:xfrm>
            <a:off x="7677443" y="5701816"/>
            <a:ext cx="340197" cy="405178"/>
          </a:xfrm>
          <a:prstGeom prst="rect">
            <a:avLst/>
          </a:prstGeom>
        </p:spPr>
      </p:pic>
      <p:pic>
        <p:nvPicPr>
          <p:cNvPr id="20" name="Grafik 19"/>
          <p:cNvPicPr>
            <a:picLocks noChangeAspect="1"/>
          </p:cNvPicPr>
          <p:nvPr/>
        </p:nvPicPr>
        <p:blipFill>
          <a:blip r:embed="rId9">
            <a:duotone>
              <a:schemeClr val="bg2">
                <a:shade val="45000"/>
                <a:satMod val="135000"/>
              </a:schemeClr>
              <a:prstClr val="white"/>
            </a:duotone>
          </a:blip>
          <a:stretch>
            <a:fillRect/>
          </a:stretch>
        </p:blipFill>
        <p:spPr>
          <a:xfrm>
            <a:off x="7966351" y="5701816"/>
            <a:ext cx="340197" cy="405178"/>
          </a:xfrm>
          <a:prstGeom prst="rect">
            <a:avLst/>
          </a:prstGeom>
        </p:spPr>
      </p:pic>
      <p:pic>
        <p:nvPicPr>
          <p:cNvPr id="21" name="Grafik 20"/>
          <p:cNvPicPr>
            <a:picLocks noChangeAspect="1"/>
          </p:cNvPicPr>
          <p:nvPr/>
        </p:nvPicPr>
        <p:blipFill>
          <a:blip r:embed="rId10"/>
          <a:stretch>
            <a:fillRect/>
          </a:stretch>
        </p:blipFill>
        <p:spPr>
          <a:xfrm>
            <a:off x="8255259" y="5701816"/>
            <a:ext cx="340197" cy="405178"/>
          </a:xfrm>
          <a:prstGeom prst="rect">
            <a:avLst/>
          </a:prstGeom>
        </p:spPr>
      </p:pic>
      <p:pic>
        <p:nvPicPr>
          <p:cNvPr id="22" name="Grafik 21"/>
          <p:cNvPicPr>
            <a:picLocks noChangeAspect="1"/>
          </p:cNvPicPr>
          <p:nvPr/>
        </p:nvPicPr>
        <p:blipFill>
          <a:blip r:embed="rId11"/>
          <a:stretch>
            <a:fillRect/>
          </a:stretch>
        </p:blipFill>
        <p:spPr>
          <a:xfrm>
            <a:off x="8544167" y="5701816"/>
            <a:ext cx="340197" cy="405178"/>
          </a:xfrm>
          <a:prstGeom prst="rect">
            <a:avLst/>
          </a:prstGeom>
        </p:spPr>
      </p:pic>
      <p:pic>
        <p:nvPicPr>
          <p:cNvPr id="23" name="Grafik 22"/>
          <p:cNvPicPr>
            <a:picLocks noChangeAspect="1"/>
          </p:cNvPicPr>
          <p:nvPr/>
        </p:nvPicPr>
        <p:blipFill>
          <a:blip r:embed="rId12">
            <a:duotone>
              <a:schemeClr val="bg2">
                <a:shade val="45000"/>
                <a:satMod val="135000"/>
              </a:schemeClr>
              <a:prstClr val="white"/>
            </a:duotone>
          </a:blip>
          <a:stretch>
            <a:fillRect/>
          </a:stretch>
        </p:blipFill>
        <p:spPr>
          <a:xfrm>
            <a:off x="8833075" y="5701816"/>
            <a:ext cx="340197" cy="405178"/>
          </a:xfrm>
          <a:prstGeom prst="rect">
            <a:avLst/>
          </a:prstGeom>
        </p:spPr>
      </p:pic>
      <p:pic>
        <p:nvPicPr>
          <p:cNvPr id="24" name="Grafik 23"/>
          <p:cNvPicPr>
            <a:picLocks noChangeAspect="1"/>
          </p:cNvPicPr>
          <p:nvPr/>
        </p:nvPicPr>
        <p:blipFill>
          <a:blip r:embed="rId13">
            <a:duotone>
              <a:schemeClr val="bg2">
                <a:shade val="45000"/>
                <a:satMod val="135000"/>
              </a:schemeClr>
              <a:prstClr val="white"/>
            </a:duotone>
          </a:blip>
          <a:stretch>
            <a:fillRect/>
          </a:stretch>
        </p:blipFill>
        <p:spPr>
          <a:xfrm>
            <a:off x="9121985" y="5701816"/>
            <a:ext cx="340197" cy="405178"/>
          </a:xfrm>
          <a:prstGeom prst="rect">
            <a:avLst/>
          </a:prstGeom>
        </p:spPr>
      </p:pic>
      <p:sp>
        <p:nvSpPr>
          <p:cNvPr id="18" name="Rectangle 4"/>
          <p:cNvSpPr>
            <a:spLocks noChangeArrowheads="1"/>
          </p:cNvSpPr>
          <p:nvPr>
            <p:custDataLst>
              <p:tags r:id="rId2"/>
            </p:custDataLst>
          </p:nvPr>
        </p:nvSpPr>
        <p:spPr bwMode="gray">
          <a:xfrm>
            <a:off x="4193931" y="5618285"/>
            <a:ext cx="1653442" cy="394094"/>
          </a:xfrm>
          <a:prstGeom prst="rect">
            <a:avLst/>
          </a:prstGeom>
          <a:solidFill>
            <a:srgbClr val="BC204B"/>
          </a:solidFill>
          <a:ln w="6350">
            <a:noFill/>
            <a:miter lim="800000"/>
            <a:headEnd/>
            <a:tailEnd/>
          </a:ln>
          <a:effectLst/>
        </p:spPr>
        <p:txBody>
          <a:bodyPr lIns="54000" tIns="54000" rIns="54000" bIns="54000" anchor="ctr" anchorCtr="1"/>
          <a:lstStyle/>
          <a:p>
            <a:pPr algn="ctr"/>
            <a:r>
              <a:rPr lang="en-US" sz="700" dirty="0">
                <a:solidFill>
                  <a:schemeClr val="bg1"/>
                </a:solidFill>
              </a:rPr>
              <a:t>Perform analogously to detailed analyses for other function costs, if significant and reasonable</a:t>
            </a:r>
          </a:p>
        </p:txBody>
      </p:sp>
      <p:sp>
        <p:nvSpPr>
          <p:cNvPr id="29" name="Rectangle 4"/>
          <p:cNvSpPr>
            <a:spLocks noChangeArrowheads="1"/>
          </p:cNvSpPr>
          <p:nvPr>
            <p:custDataLst>
              <p:tags r:id="rId3"/>
            </p:custDataLst>
          </p:nvPr>
        </p:nvSpPr>
        <p:spPr bwMode="gray">
          <a:xfrm>
            <a:off x="2449831" y="5618285"/>
            <a:ext cx="1653442" cy="394094"/>
          </a:xfrm>
          <a:prstGeom prst="rect">
            <a:avLst/>
          </a:prstGeom>
          <a:solidFill>
            <a:srgbClr val="BC204B"/>
          </a:solidFill>
          <a:ln w="6350">
            <a:noFill/>
            <a:miter lim="800000"/>
            <a:headEnd/>
            <a:tailEnd/>
          </a:ln>
          <a:effectLst/>
        </p:spPr>
        <p:txBody>
          <a:bodyPr lIns="54000" tIns="54000" rIns="54000" bIns="54000" anchor="ctr" anchorCtr="1"/>
          <a:lstStyle/>
          <a:p>
            <a:pPr algn="ctr"/>
            <a:r>
              <a:rPr lang="en-US" sz="700" dirty="0">
                <a:solidFill>
                  <a:schemeClr val="bg1"/>
                </a:solidFill>
              </a:rPr>
              <a:t>Alternative presentation to segments also possible for regions, functions, etc. </a:t>
            </a:r>
          </a:p>
        </p:txBody>
      </p:sp>
      <p:pic>
        <p:nvPicPr>
          <p:cNvPr id="16" name="Grafik 15"/>
          <p:cNvPicPr>
            <a:picLocks noChangeAspect="1"/>
          </p:cNvPicPr>
          <p:nvPr>
            <p:custDataLst>
              <p:tags r:id="rId4"/>
            </p:custDataLst>
          </p:nvPr>
        </p:nvPicPr>
        <p:blipFill>
          <a:blip r:embed="rId14"/>
          <a:stretch>
            <a:fillRect/>
          </a:stretch>
        </p:blipFill>
        <p:spPr>
          <a:xfrm>
            <a:off x="2449831" y="1422400"/>
            <a:ext cx="3405886" cy="3095133"/>
          </a:xfrm>
          <a:prstGeom prst="rect">
            <a:avLst/>
          </a:prstGeom>
        </p:spPr>
      </p:pic>
      <p:pic>
        <p:nvPicPr>
          <p:cNvPr id="7" name="Grafik 6"/>
          <p:cNvPicPr>
            <a:picLocks noChangeAspect="1"/>
          </p:cNvPicPr>
          <p:nvPr>
            <p:custDataLst>
              <p:tags r:id="rId5"/>
            </p:custDataLst>
          </p:nvPr>
        </p:nvPicPr>
        <p:blipFill>
          <a:blip r:embed="rId15"/>
          <a:stretch>
            <a:fillRect/>
          </a:stretch>
        </p:blipFill>
        <p:spPr>
          <a:xfrm>
            <a:off x="-2793400" y="2008433"/>
            <a:ext cx="1975275" cy="2225233"/>
          </a:xfrm>
          <a:prstGeom prst="rect">
            <a:avLst/>
          </a:prstGeom>
        </p:spPr>
      </p:pic>
    </p:spTree>
    <p:extLst>
      <p:ext uri="{BB962C8B-B14F-4D97-AF65-F5344CB8AC3E}">
        <p14:creationId xmlns:p14="http://schemas.microsoft.com/office/powerpoint/2010/main" val="427878922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The planned sales per FTE of the XXX AG is, as in the past, above the average for the competition.</a:t>
            </a:r>
          </a:p>
          <a:p>
            <a:r>
              <a:rPr lang="en-US" noProof="0" dirty="0"/>
              <a:t>At the same time the planned personnel expenses are comparable to the average level of the competitors.</a:t>
            </a:r>
          </a:p>
          <a:p>
            <a:r>
              <a:rPr lang="en-US" noProof="0" dirty="0"/>
              <a:t>Based on that, we consider the personnel planning of the XXX AG to be ambitious/ optimistic/realistic/plausible/conservative/cautious/….</a:t>
            </a:r>
          </a:p>
        </p:txBody>
      </p:sp>
      <p:sp>
        <p:nvSpPr>
          <p:cNvPr id="5" name="Textplatzhalter 4"/>
          <p:cNvSpPr>
            <a:spLocks noGrp="1"/>
          </p:cNvSpPr>
          <p:nvPr>
            <p:ph type="body" sz="quarter" idx="12"/>
          </p:nvPr>
        </p:nvSpPr>
        <p:spPr>
          <a:xfrm>
            <a:off x="6035040" y="1422400"/>
            <a:ext cx="3382010" cy="4604400"/>
          </a:xfrm>
        </p:spPr>
        <p:txBody>
          <a:bodyPr/>
          <a:lstStyle/>
          <a:p>
            <a:pPr lvl="2">
              <a:lnSpc>
                <a:spcPct val="95000"/>
              </a:lnSpc>
              <a:spcBef>
                <a:spcPts val="300"/>
              </a:spcBef>
            </a:pPr>
            <a:r>
              <a:rPr lang="en-US" noProof="0" dirty="0" smtClean="0"/>
              <a:t>xxx</a:t>
            </a:r>
          </a:p>
          <a:p>
            <a:pPr marL="0" lvl="2" indent="0">
              <a:lnSpc>
                <a:spcPct val="95000"/>
              </a:lnSpc>
              <a:spcBef>
                <a:spcPts val="300"/>
              </a:spcBef>
              <a:buNone/>
            </a:pPr>
            <a:endParaRPr lang="en-US" noProof="0" dirty="0"/>
          </a:p>
        </p:txBody>
      </p:sp>
      <p:sp>
        <p:nvSpPr>
          <p:cNvPr id="4" name="Titel 3"/>
          <p:cNvSpPr>
            <a:spLocks noGrp="1"/>
          </p:cNvSpPr>
          <p:nvPr>
            <p:ph type="title"/>
          </p:nvPr>
        </p:nvSpPr>
        <p:spPr/>
        <p:txBody>
          <a:bodyPr/>
          <a:lstStyle/>
          <a:p>
            <a:r>
              <a:rPr lang="en-US" noProof="0" dirty="0"/>
              <a:t>4. Are the personnel costs planned plausibly? </a:t>
            </a:r>
            <a:r>
              <a:rPr lang="en-US" noProof="0" dirty="0" smtClean="0"/>
              <a:t>(2/2</a:t>
            </a:r>
            <a:r>
              <a:rPr lang="en-US" noProof="0" dirty="0"/>
              <a:t>)</a:t>
            </a:r>
          </a:p>
        </p:txBody>
      </p:sp>
      <p:sp>
        <p:nvSpPr>
          <p:cNvPr id="3" name="Textplatzhalter 2"/>
          <p:cNvSpPr>
            <a:spLocks noGrp="1"/>
          </p:cNvSpPr>
          <p:nvPr>
            <p:ph type="body" sz="quarter" idx="13"/>
          </p:nvPr>
        </p:nvSpPr>
        <p:spPr/>
        <p:txBody>
          <a:bodyPr/>
          <a:lstStyle/>
          <a:p>
            <a:r>
              <a:rPr lang="en-US" noProof="0" dirty="0"/>
              <a:t>Expenditures from Gross Profit to EBIT Total Cost Method (Planning)</a:t>
            </a:r>
          </a:p>
        </p:txBody>
      </p:sp>
      <p:graphicFrame>
        <p:nvGraphicFramePr>
          <p:cNvPr id="39"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1">
            <a:duotone>
              <a:schemeClr val="bg2">
                <a:shade val="45000"/>
                <a:satMod val="135000"/>
              </a:schemeClr>
              <a:prstClr val="white"/>
            </a:duotone>
          </a:blip>
          <a:stretch>
            <a:fillRect/>
          </a:stretch>
        </p:blipFill>
        <p:spPr>
          <a:xfrm>
            <a:off x="7677443" y="5701816"/>
            <a:ext cx="340197" cy="405178"/>
          </a:xfrm>
          <a:prstGeom prst="rect">
            <a:avLst/>
          </a:prstGeom>
        </p:spPr>
      </p:pic>
      <p:pic>
        <p:nvPicPr>
          <p:cNvPr id="20" name="Grafik 19"/>
          <p:cNvPicPr>
            <a:picLocks noChangeAspect="1"/>
          </p:cNvPicPr>
          <p:nvPr/>
        </p:nvPicPr>
        <p:blipFill>
          <a:blip r:embed="rId12">
            <a:duotone>
              <a:schemeClr val="bg2">
                <a:shade val="45000"/>
                <a:satMod val="135000"/>
              </a:schemeClr>
              <a:prstClr val="white"/>
            </a:duotone>
          </a:blip>
          <a:stretch>
            <a:fillRect/>
          </a:stretch>
        </p:blipFill>
        <p:spPr>
          <a:xfrm>
            <a:off x="7966351" y="5701816"/>
            <a:ext cx="340197" cy="405178"/>
          </a:xfrm>
          <a:prstGeom prst="rect">
            <a:avLst/>
          </a:prstGeom>
        </p:spPr>
      </p:pic>
      <p:pic>
        <p:nvPicPr>
          <p:cNvPr id="21" name="Grafik 20"/>
          <p:cNvPicPr>
            <a:picLocks noChangeAspect="1"/>
          </p:cNvPicPr>
          <p:nvPr/>
        </p:nvPicPr>
        <p:blipFill>
          <a:blip r:embed="rId13"/>
          <a:stretch>
            <a:fillRect/>
          </a:stretch>
        </p:blipFill>
        <p:spPr>
          <a:xfrm>
            <a:off x="8255259" y="5701816"/>
            <a:ext cx="340197" cy="405178"/>
          </a:xfrm>
          <a:prstGeom prst="rect">
            <a:avLst/>
          </a:prstGeom>
        </p:spPr>
      </p:pic>
      <p:pic>
        <p:nvPicPr>
          <p:cNvPr id="22" name="Grafik 21"/>
          <p:cNvPicPr>
            <a:picLocks noChangeAspect="1"/>
          </p:cNvPicPr>
          <p:nvPr/>
        </p:nvPicPr>
        <p:blipFill>
          <a:blip r:embed="rId14"/>
          <a:stretch>
            <a:fillRect/>
          </a:stretch>
        </p:blipFill>
        <p:spPr>
          <a:xfrm>
            <a:off x="8544167" y="5701816"/>
            <a:ext cx="340197" cy="405178"/>
          </a:xfrm>
          <a:prstGeom prst="rect">
            <a:avLst/>
          </a:prstGeom>
        </p:spPr>
      </p:pic>
      <p:pic>
        <p:nvPicPr>
          <p:cNvPr id="23" name="Grafik 22"/>
          <p:cNvPicPr>
            <a:picLocks noChangeAspect="1"/>
          </p:cNvPicPr>
          <p:nvPr/>
        </p:nvPicPr>
        <p:blipFill>
          <a:blip r:embed="rId15">
            <a:duotone>
              <a:schemeClr val="bg2">
                <a:shade val="45000"/>
                <a:satMod val="135000"/>
              </a:schemeClr>
              <a:prstClr val="white"/>
            </a:duotone>
          </a:blip>
          <a:stretch>
            <a:fillRect/>
          </a:stretch>
        </p:blipFill>
        <p:spPr>
          <a:xfrm>
            <a:off x="8833075" y="5701816"/>
            <a:ext cx="340197" cy="405178"/>
          </a:xfrm>
          <a:prstGeom prst="rect">
            <a:avLst/>
          </a:prstGeom>
        </p:spPr>
      </p:pic>
      <p:pic>
        <p:nvPicPr>
          <p:cNvPr id="24" name="Grafik 23"/>
          <p:cNvPicPr>
            <a:picLocks noChangeAspect="1"/>
          </p:cNvPicPr>
          <p:nvPr/>
        </p:nvPicPr>
        <p:blipFill>
          <a:blip r:embed="rId16">
            <a:duotone>
              <a:schemeClr val="bg2">
                <a:shade val="45000"/>
                <a:satMod val="135000"/>
              </a:schemeClr>
              <a:prstClr val="white"/>
            </a:duotone>
          </a:blip>
          <a:stretch>
            <a:fillRect/>
          </a:stretch>
        </p:blipFill>
        <p:spPr>
          <a:xfrm>
            <a:off x="9121985" y="5701816"/>
            <a:ext cx="340197" cy="405178"/>
          </a:xfrm>
          <a:prstGeom prst="rect">
            <a:avLst/>
          </a:prstGeom>
        </p:spPr>
      </p:pic>
      <p:sp>
        <p:nvSpPr>
          <p:cNvPr id="18" name="Rectangle 4"/>
          <p:cNvSpPr>
            <a:spLocks noChangeArrowheads="1"/>
          </p:cNvSpPr>
          <p:nvPr>
            <p:custDataLst>
              <p:tags r:id="rId2"/>
            </p:custDataLst>
          </p:nvPr>
        </p:nvSpPr>
        <p:spPr bwMode="gray">
          <a:xfrm>
            <a:off x="7753752" y="5239212"/>
            <a:ext cx="1653442" cy="394094"/>
          </a:xfrm>
          <a:prstGeom prst="rect">
            <a:avLst/>
          </a:prstGeom>
          <a:solidFill>
            <a:srgbClr val="BC204B"/>
          </a:solidFill>
          <a:ln w="6350">
            <a:noFill/>
            <a:miter lim="800000"/>
            <a:headEnd/>
            <a:tailEnd/>
          </a:ln>
          <a:effectLst/>
        </p:spPr>
        <p:txBody>
          <a:bodyPr lIns="54000" tIns="54000" rIns="54000" bIns="54000" anchor="ctr" anchorCtr="1"/>
          <a:lstStyle/>
          <a:p>
            <a:pPr algn="ctr"/>
            <a:r>
              <a:rPr lang="en-US" sz="700" dirty="0">
                <a:solidFill>
                  <a:schemeClr val="bg1"/>
                </a:solidFill>
              </a:rPr>
              <a:t>Perform analogously to detailed analyses for other function costs, if significant and reasonable</a:t>
            </a:r>
          </a:p>
        </p:txBody>
      </p:sp>
      <p:sp>
        <p:nvSpPr>
          <p:cNvPr id="17" name="Text Placeholder 12"/>
          <p:cNvSpPr txBox="1">
            <a:spLocks/>
          </p:cNvSpPr>
          <p:nvPr>
            <p:custDataLst>
              <p:tags r:id="rId3"/>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Sales per FTE in comparison to peer group</a:t>
            </a:r>
          </a:p>
        </p:txBody>
      </p:sp>
      <p:sp>
        <p:nvSpPr>
          <p:cNvPr id="25" name="Text Placeholder 12"/>
          <p:cNvSpPr txBox="1">
            <a:spLocks/>
          </p:cNvSpPr>
          <p:nvPr>
            <p:custDataLst>
              <p:tags r:id="rId4"/>
            </p:custDataLst>
          </p:nvPr>
        </p:nvSpPr>
        <p:spPr>
          <a:xfrm>
            <a:off x="2447922" y="383148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Personnel expenses per FTE in comparison to peer group</a:t>
            </a:r>
          </a:p>
        </p:txBody>
      </p:sp>
      <p:pic>
        <p:nvPicPr>
          <p:cNvPr id="2" name="Grafik 1"/>
          <p:cNvPicPr>
            <a:picLocks noChangeAspect="1"/>
          </p:cNvPicPr>
          <p:nvPr>
            <p:custDataLst>
              <p:tags r:id="rId5"/>
            </p:custDataLst>
          </p:nvPr>
        </p:nvPicPr>
        <p:blipFill rotWithShape="1">
          <a:blip r:embed="rId17"/>
          <a:srcRect l="1835" r="21417" b="15276"/>
          <a:stretch/>
        </p:blipFill>
        <p:spPr>
          <a:xfrm>
            <a:off x="2447108" y="1526770"/>
            <a:ext cx="3396343" cy="2278876"/>
          </a:xfrm>
          <a:prstGeom prst="rect">
            <a:avLst/>
          </a:prstGeom>
        </p:spPr>
      </p:pic>
      <p:pic>
        <p:nvPicPr>
          <p:cNvPr id="9" name="Grafik 8"/>
          <p:cNvPicPr>
            <a:picLocks noChangeAspect="1"/>
          </p:cNvPicPr>
          <p:nvPr>
            <p:custDataLst>
              <p:tags r:id="rId6"/>
            </p:custDataLst>
          </p:nvPr>
        </p:nvPicPr>
        <p:blipFill rotWithShape="1">
          <a:blip r:embed="rId18"/>
          <a:srcRect r="22597" b="18190"/>
          <a:stretch/>
        </p:blipFill>
        <p:spPr>
          <a:xfrm>
            <a:off x="2426808" y="3878085"/>
            <a:ext cx="3425352" cy="2200499"/>
          </a:xfrm>
          <a:prstGeom prst="rect">
            <a:avLst/>
          </a:prstGeom>
        </p:spPr>
      </p:pic>
      <p:pic>
        <p:nvPicPr>
          <p:cNvPr id="10" name="Grafik 9"/>
          <p:cNvPicPr>
            <a:picLocks noChangeAspect="1"/>
          </p:cNvPicPr>
          <p:nvPr>
            <p:custDataLst>
              <p:tags r:id="rId7"/>
            </p:custDataLst>
          </p:nvPr>
        </p:nvPicPr>
        <p:blipFill>
          <a:blip r:embed="rId19"/>
          <a:stretch>
            <a:fillRect/>
          </a:stretch>
        </p:blipFill>
        <p:spPr>
          <a:xfrm>
            <a:off x="-2793400" y="2211118"/>
            <a:ext cx="1999661" cy="2225233"/>
          </a:xfrm>
          <a:prstGeom prst="rect">
            <a:avLst/>
          </a:prstGeom>
        </p:spPr>
      </p:pic>
      <p:pic>
        <p:nvPicPr>
          <p:cNvPr id="13" name="Grafik 12"/>
          <p:cNvPicPr>
            <a:picLocks noChangeAspect="1"/>
          </p:cNvPicPr>
          <p:nvPr>
            <p:custDataLst>
              <p:tags r:id="rId8"/>
            </p:custDataLst>
          </p:nvPr>
        </p:nvPicPr>
        <p:blipFill>
          <a:blip r:embed="rId20"/>
          <a:stretch>
            <a:fillRect/>
          </a:stretch>
        </p:blipFill>
        <p:spPr>
          <a:xfrm>
            <a:off x="-2793400" y="2211118"/>
            <a:ext cx="1999661" cy="2225233"/>
          </a:xfrm>
          <a:prstGeom prst="rect">
            <a:avLst/>
          </a:prstGeom>
        </p:spPr>
      </p:pic>
    </p:spTree>
    <p:extLst>
      <p:ext uri="{BB962C8B-B14F-4D97-AF65-F5344CB8AC3E}">
        <p14:creationId xmlns:p14="http://schemas.microsoft.com/office/powerpoint/2010/main" val="236230661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The planned sales per FTE of XXX AG is, as in the past, above the average for the competition.</a:t>
            </a:r>
          </a:p>
          <a:p>
            <a:r>
              <a:rPr lang="en-US" dirty="0"/>
              <a:t>At the same time the planned personnel expenses per FTE are comparable to the average level of the competitors.</a:t>
            </a:r>
          </a:p>
          <a:p>
            <a:r>
              <a:rPr lang="en-US" dirty="0"/>
              <a:t>Based on that, we consider the personnel planning of the XXX AG to be ambitious/ </a:t>
            </a:r>
            <a:r>
              <a:rPr lang="en-US" dirty="0" smtClean="0"/>
              <a:t>optimistic/realistic/plausible/</a:t>
            </a:r>
            <a:br>
              <a:rPr lang="en-US" dirty="0" smtClean="0"/>
            </a:br>
            <a:r>
              <a:rPr lang="en-US" dirty="0" smtClean="0"/>
              <a:t>conservative/cautious</a:t>
            </a:r>
            <a:r>
              <a:rPr lang="en-US" dirty="0"/>
              <a:t>/….</a:t>
            </a:r>
          </a:p>
        </p:txBody>
      </p:sp>
      <p:sp>
        <p:nvSpPr>
          <p:cNvPr id="5" name="Textplatzhalter 4"/>
          <p:cNvSpPr>
            <a:spLocks noGrp="1"/>
          </p:cNvSpPr>
          <p:nvPr>
            <p:ph type="body" sz="quarter" idx="12"/>
          </p:nvPr>
        </p:nvSpPr>
        <p:spPr>
          <a:xfrm>
            <a:off x="7132320" y="1422400"/>
            <a:ext cx="2284730" cy="4604400"/>
          </a:xfrm>
        </p:spPr>
        <p:txBody>
          <a:bodyPr/>
          <a:lstStyle/>
          <a:p>
            <a:pPr lvl="2">
              <a:lnSpc>
                <a:spcPct val="95000"/>
              </a:lnSpc>
              <a:spcBef>
                <a:spcPts val="300"/>
              </a:spcBef>
            </a:pPr>
            <a:r>
              <a:rPr lang="en-US" dirty="0" smtClean="0"/>
              <a:t>xxx</a:t>
            </a:r>
          </a:p>
          <a:p>
            <a:pPr marL="0" lvl="2" indent="0">
              <a:lnSpc>
                <a:spcPct val="95000"/>
              </a:lnSpc>
              <a:spcBef>
                <a:spcPts val="300"/>
              </a:spcBef>
              <a:buNone/>
            </a:pPr>
            <a:endParaRPr lang="en-US" dirty="0"/>
          </a:p>
        </p:txBody>
      </p:sp>
      <p:sp>
        <p:nvSpPr>
          <p:cNvPr id="4" name="Titel 3"/>
          <p:cNvSpPr>
            <a:spLocks noGrp="1"/>
          </p:cNvSpPr>
          <p:nvPr>
            <p:ph type="title"/>
          </p:nvPr>
        </p:nvSpPr>
        <p:spPr/>
        <p:txBody>
          <a:bodyPr/>
          <a:lstStyle/>
          <a:p>
            <a:r>
              <a:rPr lang="en-US" dirty="0"/>
              <a:t>4. Are the personnel costs planned plausibly? </a:t>
            </a:r>
            <a:r>
              <a:rPr lang="en-US" dirty="0" smtClean="0"/>
              <a:t>(2/2</a:t>
            </a:r>
            <a:r>
              <a:rPr lang="en-US" dirty="0"/>
              <a:t>)</a:t>
            </a:r>
          </a:p>
        </p:txBody>
      </p:sp>
      <p:sp>
        <p:nvSpPr>
          <p:cNvPr id="3" name="Textplatzhalter 2"/>
          <p:cNvSpPr>
            <a:spLocks noGrp="1"/>
          </p:cNvSpPr>
          <p:nvPr>
            <p:ph type="body" sz="quarter" idx="13"/>
          </p:nvPr>
        </p:nvSpPr>
        <p:spPr/>
        <p:txBody>
          <a:bodyPr/>
          <a:lstStyle/>
          <a:p>
            <a:r>
              <a:rPr lang="en-US" dirty="0"/>
              <a:t>Expenditures from Gross Profit to EBIT Total Cost Method (Planning)</a:t>
            </a:r>
          </a:p>
        </p:txBody>
      </p:sp>
      <p:graphicFrame>
        <p:nvGraphicFramePr>
          <p:cNvPr id="39" name="Group 90"/>
          <p:cNvGraphicFramePr>
            <a:graphicFrameLocks noGrp="1"/>
          </p:cNvGraphicFramePr>
          <p:nvPr>
            <p:custDataLst>
              <p:tags r:id="rId1"/>
            </p:custDataLst>
            <p:extLst>
              <p:ext uri="{D42A27DB-BD31-4B8C-83A1-F6EECF244321}">
                <p14:modId xmlns:p14="http://schemas.microsoft.com/office/powerpoint/2010/main" val="113197902"/>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6">
            <a:duotone>
              <a:schemeClr val="bg2">
                <a:shade val="45000"/>
                <a:satMod val="135000"/>
              </a:schemeClr>
              <a:prstClr val="white"/>
            </a:duotone>
          </a:blip>
          <a:stretch>
            <a:fillRect/>
          </a:stretch>
        </p:blipFill>
        <p:spPr>
          <a:xfrm>
            <a:off x="7677443" y="5701816"/>
            <a:ext cx="340197" cy="405178"/>
          </a:xfrm>
          <a:prstGeom prst="rect">
            <a:avLst/>
          </a:prstGeom>
        </p:spPr>
      </p:pic>
      <p:pic>
        <p:nvPicPr>
          <p:cNvPr id="20" name="Grafik 19"/>
          <p:cNvPicPr>
            <a:picLocks noChangeAspect="1"/>
          </p:cNvPicPr>
          <p:nvPr/>
        </p:nvPicPr>
        <p:blipFill>
          <a:blip r:embed="rId17">
            <a:duotone>
              <a:schemeClr val="bg2">
                <a:shade val="45000"/>
                <a:satMod val="135000"/>
              </a:schemeClr>
              <a:prstClr val="white"/>
            </a:duotone>
          </a:blip>
          <a:stretch>
            <a:fillRect/>
          </a:stretch>
        </p:blipFill>
        <p:spPr>
          <a:xfrm>
            <a:off x="7966351" y="5701816"/>
            <a:ext cx="340197" cy="405178"/>
          </a:xfrm>
          <a:prstGeom prst="rect">
            <a:avLst/>
          </a:prstGeom>
        </p:spPr>
      </p:pic>
      <p:pic>
        <p:nvPicPr>
          <p:cNvPr id="21" name="Grafik 20"/>
          <p:cNvPicPr>
            <a:picLocks noChangeAspect="1"/>
          </p:cNvPicPr>
          <p:nvPr/>
        </p:nvPicPr>
        <p:blipFill>
          <a:blip r:embed="rId18"/>
          <a:stretch>
            <a:fillRect/>
          </a:stretch>
        </p:blipFill>
        <p:spPr>
          <a:xfrm>
            <a:off x="8255259" y="5701816"/>
            <a:ext cx="340197" cy="405178"/>
          </a:xfrm>
          <a:prstGeom prst="rect">
            <a:avLst/>
          </a:prstGeom>
        </p:spPr>
      </p:pic>
      <p:pic>
        <p:nvPicPr>
          <p:cNvPr id="22" name="Grafik 21"/>
          <p:cNvPicPr>
            <a:picLocks noChangeAspect="1"/>
          </p:cNvPicPr>
          <p:nvPr/>
        </p:nvPicPr>
        <p:blipFill>
          <a:blip r:embed="rId19"/>
          <a:stretch>
            <a:fillRect/>
          </a:stretch>
        </p:blipFill>
        <p:spPr>
          <a:xfrm>
            <a:off x="8544167" y="5701816"/>
            <a:ext cx="340197" cy="405178"/>
          </a:xfrm>
          <a:prstGeom prst="rect">
            <a:avLst/>
          </a:prstGeom>
        </p:spPr>
      </p:pic>
      <p:pic>
        <p:nvPicPr>
          <p:cNvPr id="23" name="Grafik 22"/>
          <p:cNvPicPr>
            <a:picLocks noChangeAspect="1"/>
          </p:cNvPicPr>
          <p:nvPr/>
        </p:nvPicPr>
        <p:blipFill>
          <a:blip r:embed="rId20">
            <a:duotone>
              <a:schemeClr val="bg2">
                <a:shade val="45000"/>
                <a:satMod val="135000"/>
              </a:schemeClr>
              <a:prstClr val="white"/>
            </a:duotone>
          </a:blip>
          <a:stretch>
            <a:fillRect/>
          </a:stretch>
        </p:blipFill>
        <p:spPr>
          <a:xfrm>
            <a:off x="8833075" y="5701816"/>
            <a:ext cx="340197" cy="405178"/>
          </a:xfrm>
          <a:prstGeom prst="rect">
            <a:avLst/>
          </a:prstGeom>
        </p:spPr>
      </p:pic>
      <p:pic>
        <p:nvPicPr>
          <p:cNvPr id="24" name="Grafik 23"/>
          <p:cNvPicPr>
            <a:picLocks noChangeAspect="1"/>
          </p:cNvPicPr>
          <p:nvPr/>
        </p:nvPicPr>
        <p:blipFill>
          <a:blip r:embed="rId21">
            <a:duotone>
              <a:schemeClr val="bg2">
                <a:shade val="45000"/>
                <a:satMod val="135000"/>
              </a:schemeClr>
              <a:prstClr val="white"/>
            </a:duotone>
          </a:blip>
          <a:stretch>
            <a:fillRect/>
          </a:stretch>
        </p:blipFill>
        <p:spPr>
          <a:xfrm>
            <a:off x="9121985" y="5701816"/>
            <a:ext cx="340197" cy="405178"/>
          </a:xfrm>
          <a:prstGeom prst="rect">
            <a:avLst/>
          </a:prstGeom>
        </p:spPr>
      </p:pic>
      <p:sp>
        <p:nvSpPr>
          <p:cNvPr id="17"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Sales per FTE in comparison to peer group</a:t>
            </a:r>
          </a:p>
        </p:txBody>
      </p:sp>
      <p:sp>
        <p:nvSpPr>
          <p:cNvPr id="25" name="Text Placeholder 12"/>
          <p:cNvSpPr txBox="1">
            <a:spLocks/>
          </p:cNvSpPr>
          <p:nvPr>
            <p:custDataLst>
              <p:tags r:id="rId3"/>
            </p:custDataLst>
          </p:nvPr>
        </p:nvSpPr>
        <p:spPr>
          <a:xfrm>
            <a:off x="2447922" y="383148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Personnel expenses per FTE in comparison to peer group</a:t>
            </a:r>
          </a:p>
        </p:txBody>
      </p:sp>
      <p:sp>
        <p:nvSpPr>
          <p:cNvPr id="26" name="Rechteck 25"/>
          <p:cNvSpPr/>
          <p:nvPr/>
        </p:nvSpPr>
        <p:spPr>
          <a:xfrm rot="721361">
            <a:off x="7680719" y="1463343"/>
            <a:ext cx="1910028" cy="232228"/>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900" dirty="0" smtClean="0"/>
              <a:t>Alternative</a:t>
            </a:r>
            <a:endParaRPr lang="en-US" sz="900" dirty="0"/>
          </a:p>
        </p:txBody>
      </p:sp>
      <p:pic>
        <p:nvPicPr>
          <p:cNvPr id="27" name="Grafik 26"/>
          <p:cNvPicPr>
            <a:picLocks noChangeAspect="1"/>
          </p:cNvPicPr>
          <p:nvPr>
            <p:custDataLst>
              <p:tags r:id="rId4"/>
            </p:custDataLst>
          </p:nvPr>
        </p:nvPicPr>
        <p:blipFill rotWithShape="1">
          <a:blip r:embed="rId22"/>
          <a:srcRect l="5942" t="8661" b="8837"/>
          <a:stretch/>
        </p:blipFill>
        <p:spPr>
          <a:xfrm>
            <a:off x="2438398" y="4148577"/>
            <a:ext cx="4828921" cy="1740074"/>
          </a:xfrm>
          <a:prstGeom prst="rect">
            <a:avLst/>
          </a:prstGeom>
        </p:spPr>
      </p:pic>
      <p:grpSp>
        <p:nvGrpSpPr>
          <p:cNvPr id="29" name="Group 2"/>
          <p:cNvGrpSpPr/>
          <p:nvPr>
            <p:custDataLst>
              <p:tags r:id="rId5"/>
            </p:custDataLst>
          </p:nvPr>
        </p:nvGrpSpPr>
        <p:grpSpPr>
          <a:xfrm>
            <a:off x="2996053" y="1790700"/>
            <a:ext cx="3900047" cy="1752599"/>
            <a:chOff x="-755730" y="5561012"/>
            <a:chExt cx="2174657" cy="1624013"/>
          </a:xfrm>
        </p:grpSpPr>
        <p:sp>
          <p:nvSpPr>
            <p:cNvPr id="30" name="Rectangle 2"/>
            <p:cNvSpPr>
              <a:spLocks noChangeArrowheads="1"/>
            </p:cNvSpPr>
            <p:nvPr>
              <p:custDataLst>
                <p:tags r:id="rId12"/>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1" name="Rectangle 2"/>
            <p:cNvSpPr>
              <a:spLocks noChangeArrowheads="1"/>
            </p:cNvSpPr>
            <p:nvPr>
              <p:custDataLst>
                <p:tags r:id="rId13"/>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grpSp>
        <p:nvGrpSpPr>
          <p:cNvPr id="32" name="Group 2"/>
          <p:cNvGrpSpPr/>
          <p:nvPr>
            <p:custDataLst>
              <p:tags r:id="rId6"/>
            </p:custDataLst>
          </p:nvPr>
        </p:nvGrpSpPr>
        <p:grpSpPr>
          <a:xfrm>
            <a:off x="2987675" y="4097951"/>
            <a:ext cx="3900047" cy="1752599"/>
            <a:chOff x="-755730" y="5561012"/>
            <a:chExt cx="2174657" cy="1624013"/>
          </a:xfrm>
        </p:grpSpPr>
        <p:sp>
          <p:nvSpPr>
            <p:cNvPr id="33" name="Rectangle 2"/>
            <p:cNvSpPr>
              <a:spLocks noChangeArrowheads="1"/>
            </p:cNvSpPr>
            <p:nvPr>
              <p:custDataLst>
                <p:tags r:id="rId10"/>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4" name="Rectangle 2"/>
            <p:cNvSpPr>
              <a:spLocks noChangeArrowheads="1"/>
            </p:cNvSpPr>
            <p:nvPr>
              <p:custDataLst>
                <p:tags r:id="rId11"/>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pic>
        <p:nvPicPr>
          <p:cNvPr id="28" name="Grafik 27"/>
          <p:cNvPicPr>
            <a:picLocks noChangeAspect="1"/>
          </p:cNvPicPr>
          <p:nvPr>
            <p:custDataLst>
              <p:tags r:id="rId7"/>
            </p:custDataLst>
          </p:nvPr>
        </p:nvPicPr>
        <p:blipFill rotWithShape="1">
          <a:blip r:embed="rId23"/>
          <a:srcRect l="5939" t="12057" b="7668"/>
          <a:stretch/>
        </p:blipFill>
        <p:spPr>
          <a:xfrm>
            <a:off x="2438398" y="1891953"/>
            <a:ext cx="4827638" cy="1689446"/>
          </a:xfrm>
          <a:prstGeom prst="rect">
            <a:avLst/>
          </a:prstGeom>
        </p:spPr>
      </p:pic>
      <p:pic>
        <p:nvPicPr>
          <p:cNvPr id="7" name="Grafik 6"/>
          <p:cNvPicPr>
            <a:picLocks noChangeAspect="1"/>
          </p:cNvPicPr>
          <p:nvPr>
            <p:custDataLst>
              <p:tags r:id="rId8"/>
            </p:custDataLst>
          </p:nvPr>
        </p:nvPicPr>
        <p:blipFill>
          <a:blip r:embed="rId24"/>
          <a:stretch>
            <a:fillRect/>
          </a:stretch>
        </p:blipFill>
        <p:spPr>
          <a:xfrm>
            <a:off x="-2793400" y="3945665"/>
            <a:ext cx="1999661" cy="2225233"/>
          </a:xfrm>
          <a:prstGeom prst="rect">
            <a:avLst/>
          </a:prstGeom>
        </p:spPr>
      </p:pic>
      <p:pic>
        <p:nvPicPr>
          <p:cNvPr id="9" name="Grafik 8"/>
          <p:cNvPicPr>
            <a:picLocks noChangeAspect="1"/>
          </p:cNvPicPr>
          <p:nvPr>
            <p:custDataLst>
              <p:tags r:id="rId9"/>
            </p:custDataLst>
          </p:nvPr>
        </p:nvPicPr>
        <p:blipFill>
          <a:blip r:embed="rId25"/>
          <a:stretch>
            <a:fillRect/>
          </a:stretch>
        </p:blipFill>
        <p:spPr>
          <a:xfrm>
            <a:off x="-2777874" y="1422400"/>
            <a:ext cx="1999661" cy="2225233"/>
          </a:xfrm>
          <a:prstGeom prst="rect">
            <a:avLst/>
          </a:prstGeom>
        </p:spPr>
      </p:pic>
    </p:spTree>
    <p:extLst>
      <p:ext uri="{BB962C8B-B14F-4D97-AF65-F5344CB8AC3E}">
        <p14:creationId xmlns:p14="http://schemas.microsoft.com/office/powerpoint/2010/main" val="174916791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The other operating result is primarily influenced by the development of XXX and YYY.</a:t>
            </a:r>
          </a:p>
          <a:p>
            <a:endParaRPr lang="en-US" noProof="0" dirty="0"/>
          </a:p>
        </p:txBody>
      </p:sp>
      <p:sp>
        <p:nvSpPr>
          <p:cNvPr id="5" name="Textplatzhalter 4"/>
          <p:cNvSpPr>
            <a:spLocks noGrp="1"/>
          </p:cNvSpPr>
          <p:nvPr>
            <p:ph type="body" sz="quarter" idx="12"/>
          </p:nvPr>
        </p:nvSpPr>
        <p:spPr>
          <a:xfrm>
            <a:off x="6028690" y="1422400"/>
            <a:ext cx="3402000" cy="4604400"/>
          </a:xfrm>
        </p:spPr>
        <p:txBody>
          <a:bodyPr/>
          <a:lstStyle/>
          <a:p>
            <a:pPr lvl="2">
              <a:lnSpc>
                <a:spcPct val="95000"/>
              </a:lnSpc>
              <a:spcBef>
                <a:spcPts val="300"/>
              </a:spcBef>
            </a:pPr>
            <a:r>
              <a:rPr lang="en-US" noProof="0" dirty="0" smtClean="0"/>
              <a:t>The other operating result is primarily due to XXX and YYY. As a result of scale effects there is a below average increase compared to sales in the course of planning. </a:t>
            </a:r>
          </a:p>
          <a:p>
            <a:pPr lvl="2">
              <a:lnSpc>
                <a:spcPct val="95000"/>
              </a:lnSpc>
              <a:spcBef>
                <a:spcPts val="300"/>
              </a:spcBef>
            </a:pPr>
            <a:r>
              <a:rPr lang="en-US" noProof="0" dirty="0" smtClean="0"/>
              <a:t>[.... explanations on the material individual items and development in the planning period ....]</a:t>
            </a:r>
          </a:p>
          <a:p>
            <a:pPr lvl="2">
              <a:lnSpc>
                <a:spcPct val="95000"/>
              </a:lnSpc>
              <a:spcBef>
                <a:spcPts val="300"/>
              </a:spcBef>
            </a:pPr>
            <a:r>
              <a:rPr lang="en-US" noProof="0" dirty="0" smtClean="0"/>
              <a:t>[.... explanations for KPIs or dependencies on individual items from other parameters ....]</a:t>
            </a:r>
          </a:p>
          <a:p>
            <a:pPr lvl="2">
              <a:lnSpc>
                <a:spcPct val="95000"/>
              </a:lnSpc>
              <a:spcBef>
                <a:spcPts val="300"/>
              </a:spcBef>
            </a:pPr>
            <a:endParaRPr lang="en-US" noProof="0" dirty="0"/>
          </a:p>
        </p:txBody>
      </p:sp>
      <p:sp>
        <p:nvSpPr>
          <p:cNvPr id="4" name="Titel 3"/>
          <p:cNvSpPr>
            <a:spLocks noGrp="1"/>
          </p:cNvSpPr>
          <p:nvPr>
            <p:ph type="title"/>
          </p:nvPr>
        </p:nvSpPr>
        <p:spPr/>
        <p:txBody>
          <a:bodyPr/>
          <a:lstStyle/>
          <a:p>
            <a:r>
              <a:rPr lang="en-US" noProof="0" dirty="0"/>
              <a:t>5. Has other operating result been plausibly planned?</a:t>
            </a:r>
          </a:p>
        </p:txBody>
      </p:sp>
      <p:sp>
        <p:nvSpPr>
          <p:cNvPr id="3" name="Textplatzhalter 2"/>
          <p:cNvSpPr>
            <a:spLocks noGrp="1"/>
          </p:cNvSpPr>
          <p:nvPr>
            <p:ph type="body" sz="quarter" idx="13"/>
          </p:nvPr>
        </p:nvSpPr>
        <p:spPr/>
        <p:txBody>
          <a:bodyPr/>
          <a:lstStyle/>
          <a:p>
            <a:r>
              <a:rPr lang="en-US" noProof="0" dirty="0"/>
              <a:t>Expenditures from Gross Profit to EBIT Total Cost Method (Planning)</a:t>
            </a:r>
          </a:p>
        </p:txBody>
      </p:sp>
      <p:graphicFrame>
        <p:nvGraphicFramePr>
          <p:cNvPr id="39"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8">
            <a:duotone>
              <a:schemeClr val="bg2">
                <a:shade val="45000"/>
                <a:satMod val="135000"/>
              </a:schemeClr>
              <a:prstClr val="white"/>
            </a:duotone>
          </a:blip>
          <a:stretch>
            <a:fillRect/>
          </a:stretch>
        </p:blipFill>
        <p:spPr>
          <a:xfrm>
            <a:off x="7677443" y="5701816"/>
            <a:ext cx="340197" cy="405178"/>
          </a:xfrm>
          <a:prstGeom prst="rect">
            <a:avLst/>
          </a:prstGeom>
        </p:spPr>
      </p:pic>
      <p:pic>
        <p:nvPicPr>
          <p:cNvPr id="20" name="Grafik 19"/>
          <p:cNvPicPr>
            <a:picLocks noChangeAspect="1"/>
          </p:cNvPicPr>
          <p:nvPr/>
        </p:nvPicPr>
        <p:blipFill>
          <a:blip r:embed="rId9">
            <a:duotone>
              <a:schemeClr val="bg2">
                <a:shade val="45000"/>
                <a:satMod val="135000"/>
              </a:schemeClr>
              <a:prstClr val="white"/>
            </a:duotone>
          </a:blip>
          <a:stretch>
            <a:fillRect/>
          </a:stretch>
        </p:blipFill>
        <p:spPr>
          <a:xfrm>
            <a:off x="7966351" y="5701816"/>
            <a:ext cx="340197" cy="405178"/>
          </a:xfrm>
          <a:prstGeom prst="rect">
            <a:avLst/>
          </a:prstGeom>
        </p:spPr>
      </p:pic>
      <p:pic>
        <p:nvPicPr>
          <p:cNvPr id="21" name="Grafik 20"/>
          <p:cNvPicPr>
            <a:picLocks noChangeAspect="1"/>
          </p:cNvPicPr>
          <p:nvPr/>
        </p:nvPicPr>
        <p:blipFill>
          <a:blip r:embed="rId10"/>
          <a:stretch>
            <a:fillRect/>
          </a:stretch>
        </p:blipFill>
        <p:spPr>
          <a:xfrm>
            <a:off x="8255259" y="5701816"/>
            <a:ext cx="340197" cy="405178"/>
          </a:xfrm>
          <a:prstGeom prst="rect">
            <a:avLst/>
          </a:prstGeom>
        </p:spPr>
      </p:pic>
      <p:pic>
        <p:nvPicPr>
          <p:cNvPr id="22" name="Grafik 21"/>
          <p:cNvPicPr>
            <a:picLocks noChangeAspect="1"/>
          </p:cNvPicPr>
          <p:nvPr/>
        </p:nvPicPr>
        <p:blipFill>
          <a:blip r:embed="rId11">
            <a:duotone>
              <a:schemeClr val="bg2">
                <a:shade val="45000"/>
                <a:satMod val="135000"/>
              </a:schemeClr>
              <a:prstClr val="white"/>
            </a:duotone>
          </a:blip>
          <a:stretch>
            <a:fillRect/>
          </a:stretch>
        </p:blipFill>
        <p:spPr>
          <a:xfrm>
            <a:off x="8544167" y="5701816"/>
            <a:ext cx="340197" cy="405178"/>
          </a:xfrm>
          <a:prstGeom prst="rect">
            <a:avLst/>
          </a:prstGeom>
        </p:spPr>
      </p:pic>
      <p:pic>
        <p:nvPicPr>
          <p:cNvPr id="23" name="Grafik 22"/>
          <p:cNvPicPr>
            <a:picLocks noChangeAspect="1"/>
          </p:cNvPicPr>
          <p:nvPr/>
        </p:nvPicPr>
        <p:blipFill>
          <a:blip r:embed="rId12">
            <a:duotone>
              <a:schemeClr val="bg2">
                <a:shade val="45000"/>
                <a:satMod val="135000"/>
              </a:schemeClr>
              <a:prstClr val="white"/>
            </a:duotone>
          </a:blip>
          <a:stretch>
            <a:fillRect/>
          </a:stretch>
        </p:blipFill>
        <p:spPr>
          <a:xfrm>
            <a:off x="8833075" y="5701816"/>
            <a:ext cx="340197" cy="405178"/>
          </a:xfrm>
          <a:prstGeom prst="rect">
            <a:avLst/>
          </a:prstGeom>
        </p:spPr>
      </p:pic>
      <p:pic>
        <p:nvPicPr>
          <p:cNvPr id="24" name="Grafik 23"/>
          <p:cNvPicPr>
            <a:picLocks noChangeAspect="1"/>
          </p:cNvPicPr>
          <p:nvPr/>
        </p:nvPicPr>
        <p:blipFill>
          <a:blip r:embed="rId13">
            <a:duotone>
              <a:schemeClr val="bg2">
                <a:shade val="45000"/>
                <a:satMod val="135000"/>
              </a:schemeClr>
              <a:prstClr val="white"/>
            </a:duotone>
          </a:blip>
          <a:stretch>
            <a:fillRect/>
          </a:stretch>
        </p:blipFill>
        <p:spPr>
          <a:xfrm>
            <a:off x="9121985" y="5701816"/>
            <a:ext cx="340197" cy="405178"/>
          </a:xfrm>
          <a:prstGeom prst="rect">
            <a:avLst/>
          </a:prstGeom>
        </p:spPr>
      </p:pic>
      <p:sp>
        <p:nvSpPr>
          <p:cNvPr id="18" name="Rectangle 4"/>
          <p:cNvSpPr>
            <a:spLocks noChangeArrowheads="1"/>
          </p:cNvSpPr>
          <p:nvPr>
            <p:custDataLst>
              <p:tags r:id="rId2"/>
            </p:custDataLst>
          </p:nvPr>
        </p:nvSpPr>
        <p:spPr bwMode="gray">
          <a:xfrm>
            <a:off x="7763608" y="5284177"/>
            <a:ext cx="1653442" cy="394094"/>
          </a:xfrm>
          <a:prstGeom prst="rect">
            <a:avLst/>
          </a:prstGeom>
          <a:solidFill>
            <a:srgbClr val="BC204B"/>
          </a:solidFill>
          <a:ln w="6350">
            <a:noFill/>
            <a:miter lim="800000"/>
            <a:headEnd/>
            <a:tailEnd/>
          </a:ln>
          <a:effectLst/>
        </p:spPr>
        <p:txBody>
          <a:bodyPr lIns="54000" tIns="54000" rIns="54000" bIns="54000" anchor="ctr" anchorCtr="1"/>
          <a:lstStyle/>
          <a:p>
            <a:pPr algn="ctr"/>
            <a:r>
              <a:rPr lang="en-US" sz="700" dirty="0">
                <a:solidFill>
                  <a:schemeClr val="bg1"/>
                </a:solidFill>
              </a:rPr>
              <a:t>Choice of parameters for major expenses on the basis of specific drivers, usually sales or employees</a:t>
            </a:r>
          </a:p>
        </p:txBody>
      </p:sp>
      <p:sp>
        <p:nvSpPr>
          <p:cNvPr id="29" name="Text Placeholder 12"/>
          <p:cNvSpPr txBox="1">
            <a:spLocks/>
          </p:cNvSpPr>
          <p:nvPr>
            <p:custDataLst>
              <p:tags r:id="rId3"/>
            </p:custDataLst>
          </p:nvPr>
        </p:nvSpPr>
        <p:spPr>
          <a:xfrm>
            <a:off x="2446338"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smtClean="0">
                <a:latin typeface="Arial" panose="020B0604020202020204" pitchFamily="34" charset="0"/>
                <a:cs typeface="Arial" panose="020B0604020202020204" pitchFamily="34" charset="0"/>
              </a:rPr>
              <a:t>xxx</a:t>
            </a:r>
            <a:endParaRPr lang="en-US" sz="900" kern="0" dirty="0">
              <a:latin typeface="Arial" panose="020B0604020202020204" pitchFamily="34" charset="0"/>
              <a:cs typeface="Arial" panose="020B0604020202020204" pitchFamily="34" charset="0"/>
            </a:endParaRPr>
          </a:p>
        </p:txBody>
      </p:sp>
      <p:pic>
        <p:nvPicPr>
          <p:cNvPr id="25" name="Grafik 24"/>
          <p:cNvPicPr>
            <a:picLocks noChangeAspect="1"/>
          </p:cNvPicPr>
          <p:nvPr>
            <p:custDataLst>
              <p:tags r:id="rId4"/>
            </p:custDataLst>
          </p:nvPr>
        </p:nvPicPr>
        <p:blipFill>
          <a:blip r:embed="rId14"/>
          <a:stretch>
            <a:fillRect/>
          </a:stretch>
        </p:blipFill>
        <p:spPr>
          <a:xfrm>
            <a:off x="2446340" y="1429185"/>
            <a:ext cx="3397063" cy="3122244"/>
          </a:xfrm>
          <a:prstGeom prst="rect">
            <a:avLst/>
          </a:prstGeom>
        </p:spPr>
      </p:pic>
      <p:pic>
        <p:nvPicPr>
          <p:cNvPr id="7" name="Grafik 6"/>
          <p:cNvPicPr>
            <a:picLocks noChangeAspect="1"/>
          </p:cNvPicPr>
          <p:nvPr>
            <p:custDataLst>
              <p:tags r:id="rId5"/>
            </p:custDataLst>
          </p:nvPr>
        </p:nvPicPr>
        <p:blipFill>
          <a:blip r:embed="rId15"/>
          <a:stretch>
            <a:fillRect/>
          </a:stretch>
        </p:blipFill>
        <p:spPr>
          <a:xfrm>
            <a:off x="-2793400" y="1877374"/>
            <a:ext cx="1975275" cy="2225233"/>
          </a:xfrm>
          <a:prstGeom prst="rect">
            <a:avLst/>
          </a:prstGeom>
        </p:spPr>
      </p:pic>
    </p:spTree>
    <p:extLst>
      <p:ext uri="{BB962C8B-B14F-4D97-AF65-F5344CB8AC3E}">
        <p14:creationId xmlns:p14="http://schemas.microsoft.com/office/powerpoint/2010/main" val="406993180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The XXX AG plans to expand investments in the planning period to reduce the existing investment backlog. Depreciation increases respectively in the course of the planning.</a:t>
            </a:r>
          </a:p>
          <a:p>
            <a:r>
              <a:rPr lang="en-US" dirty="0"/>
              <a:t>We consider the investment and depreciation planning to be </a:t>
            </a:r>
            <a:r>
              <a:rPr lang="en-US" dirty="0" smtClean="0"/>
              <a:t>XXX.</a:t>
            </a:r>
            <a:endParaRPr lang="en-US" dirty="0"/>
          </a:p>
        </p:txBody>
      </p:sp>
      <p:sp>
        <p:nvSpPr>
          <p:cNvPr id="5" name="Textplatzhalter 4"/>
          <p:cNvSpPr>
            <a:spLocks noGrp="1"/>
          </p:cNvSpPr>
          <p:nvPr>
            <p:ph type="body" sz="quarter" idx="12"/>
          </p:nvPr>
        </p:nvSpPr>
        <p:spPr>
          <a:xfrm>
            <a:off x="6028690" y="1422400"/>
            <a:ext cx="3402000" cy="4604400"/>
          </a:xfrm>
        </p:spPr>
        <p:txBody>
          <a:bodyPr/>
          <a:lstStyle/>
          <a:p>
            <a:pPr lvl="2">
              <a:lnSpc>
                <a:spcPct val="95000"/>
              </a:lnSpc>
              <a:spcBef>
                <a:spcPts val="300"/>
              </a:spcBef>
            </a:pPr>
            <a:r>
              <a:rPr lang="en-US" dirty="0" smtClean="0"/>
              <a:t>XXX AG expects a significant increase of the investments above the level of depreciation/average investment in the past, as a result of the successive reduction of the investment backlog. These are primarily for XXX.</a:t>
            </a:r>
          </a:p>
          <a:p>
            <a:pPr lvl="2">
              <a:lnSpc>
                <a:spcPct val="95000"/>
              </a:lnSpc>
              <a:spcBef>
                <a:spcPts val="300"/>
              </a:spcBef>
            </a:pPr>
            <a:r>
              <a:rPr lang="en-US" dirty="0" smtClean="0"/>
              <a:t>As a result of the investment activity the assets increase by ca. X% in the planning period.</a:t>
            </a:r>
          </a:p>
          <a:p>
            <a:pPr lvl="2">
              <a:lnSpc>
                <a:spcPct val="95000"/>
              </a:lnSpc>
              <a:spcBef>
                <a:spcPts val="300"/>
              </a:spcBef>
            </a:pPr>
            <a:r>
              <a:rPr lang="en-US" dirty="0" smtClean="0"/>
              <a:t>The investments are primarily in XXX. They are above the level of depreciation/average investment in the past as a result of the successive reduction of the investment backlog.</a:t>
            </a:r>
          </a:p>
          <a:p>
            <a:pPr lvl="2">
              <a:lnSpc>
                <a:spcPct val="95000"/>
              </a:lnSpc>
              <a:spcBef>
                <a:spcPts val="300"/>
              </a:spcBef>
            </a:pPr>
            <a:r>
              <a:rPr lang="en-US" dirty="0" smtClean="0"/>
              <a:t>[.... expansion vs. replacement investments .....]</a:t>
            </a:r>
          </a:p>
          <a:p>
            <a:pPr lvl="2">
              <a:lnSpc>
                <a:spcPct val="95000"/>
              </a:lnSpc>
              <a:spcBef>
                <a:spcPts val="300"/>
              </a:spcBef>
            </a:pPr>
            <a:r>
              <a:rPr lang="en-US" dirty="0" smtClean="0"/>
              <a:t>[.... Additional explanations of investments ...]</a:t>
            </a:r>
          </a:p>
          <a:p>
            <a:pPr lvl="2">
              <a:lnSpc>
                <a:spcPct val="95000"/>
              </a:lnSpc>
              <a:spcBef>
                <a:spcPts val="300"/>
              </a:spcBef>
            </a:pPr>
            <a:r>
              <a:rPr lang="en-US" dirty="0" smtClean="0"/>
              <a:t>[.... explanations of investments, depreciation method and assumed useful life ....]</a:t>
            </a:r>
          </a:p>
          <a:p>
            <a:pPr lvl="2">
              <a:lnSpc>
                <a:spcPct val="95000"/>
              </a:lnSpc>
              <a:spcBef>
                <a:spcPts val="300"/>
              </a:spcBef>
            </a:pPr>
            <a:r>
              <a:rPr lang="en-US" dirty="0" smtClean="0"/>
              <a:t>[... Reproduction of complete investment cycle? Length of planning horizon? Transition to sustainable result </a:t>
            </a:r>
            <a:r>
              <a:rPr lang="en-US" dirty="0" smtClean="0">
                <a:sym typeface="Wingdings" pitchFamily="2" charset="2"/>
              </a:rPr>
              <a:t> s. workbook Sustainable Result ...]</a:t>
            </a:r>
            <a:endParaRPr lang="en-US" dirty="0" smtClean="0"/>
          </a:p>
          <a:p>
            <a:pPr lvl="2">
              <a:lnSpc>
                <a:spcPct val="95000"/>
              </a:lnSpc>
              <a:spcBef>
                <a:spcPts val="300"/>
              </a:spcBef>
            </a:pPr>
            <a:r>
              <a:rPr lang="en-US" dirty="0" smtClean="0"/>
              <a:t>The depreciation increased slightly in the course of planning as a result of the investment sum being higher than depreciation.</a:t>
            </a:r>
          </a:p>
          <a:p>
            <a:pPr lvl="2">
              <a:lnSpc>
                <a:spcPct val="95000"/>
              </a:lnSpc>
              <a:spcBef>
                <a:spcPts val="300"/>
              </a:spcBef>
            </a:pPr>
            <a:r>
              <a:rPr lang="en-US" dirty="0" smtClean="0"/>
              <a:t>Due to the high assumed useful life of the planned expansion investments the depreciation ratio increased only slightly compared to the investment ratio.</a:t>
            </a:r>
          </a:p>
          <a:p>
            <a:pPr lvl="2">
              <a:lnSpc>
                <a:spcPct val="95000"/>
              </a:lnSpc>
              <a:spcBef>
                <a:spcPts val="300"/>
              </a:spcBef>
            </a:pPr>
            <a:r>
              <a:rPr lang="en-US" dirty="0" smtClean="0"/>
              <a:t>[.... explanations of depreciation and investment ratio (investments in% of sales ....)]</a:t>
            </a:r>
          </a:p>
          <a:p>
            <a:pPr marL="0" lvl="2" indent="0">
              <a:lnSpc>
                <a:spcPct val="95000"/>
              </a:lnSpc>
              <a:spcBef>
                <a:spcPts val="300"/>
              </a:spcBef>
              <a:buNone/>
            </a:pPr>
            <a:endParaRPr lang="en-US" dirty="0"/>
          </a:p>
        </p:txBody>
      </p:sp>
      <p:sp>
        <p:nvSpPr>
          <p:cNvPr id="4" name="Titel 3"/>
          <p:cNvSpPr>
            <a:spLocks noGrp="1"/>
          </p:cNvSpPr>
          <p:nvPr>
            <p:ph type="title"/>
          </p:nvPr>
        </p:nvSpPr>
        <p:spPr/>
        <p:txBody>
          <a:bodyPr/>
          <a:lstStyle/>
          <a:p>
            <a:r>
              <a:rPr lang="en-US" dirty="0"/>
              <a:t>6. Has depreciation been plausibly planned? (1/3)</a:t>
            </a:r>
          </a:p>
        </p:txBody>
      </p:sp>
      <p:sp>
        <p:nvSpPr>
          <p:cNvPr id="3" name="Textplatzhalter 2"/>
          <p:cNvSpPr>
            <a:spLocks noGrp="1"/>
          </p:cNvSpPr>
          <p:nvPr>
            <p:ph type="body" sz="quarter" idx="13"/>
          </p:nvPr>
        </p:nvSpPr>
        <p:spPr/>
        <p:txBody>
          <a:bodyPr/>
          <a:lstStyle/>
          <a:p>
            <a:r>
              <a:rPr lang="en-US" dirty="0"/>
              <a:t>Expenditures from Gross Profit to EBIT Total Cost Method (Planning)</a:t>
            </a:r>
          </a:p>
        </p:txBody>
      </p:sp>
      <p:graphicFrame>
        <p:nvGraphicFramePr>
          <p:cNvPr id="39" name="Group 90"/>
          <p:cNvGraphicFramePr>
            <a:graphicFrameLocks noGrp="1"/>
          </p:cNvGraphicFramePr>
          <p:nvPr>
            <p:custDataLst>
              <p:tags r:id="rId1"/>
            </p:custDataLst>
            <p:extLst>
              <p:ext uri="{D42A27DB-BD31-4B8C-83A1-F6EECF244321}">
                <p14:modId xmlns:p14="http://schemas.microsoft.com/office/powerpoint/2010/main" val="2865975314"/>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2">
            <a:duotone>
              <a:schemeClr val="bg2">
                <a:shade val="45000"/>
                <a:satMod val="135000"/>
              </a:schemeClr>
              <a:prstClr val="white"/>
            </a:duotone>
          </a:blip>
          <a:stretch>
            <a:fillRect/>
          </a:stretch>
        </p:blipFill>
        <p:spPr>
          <a:xfrm>
            <a:off x="7677443" y="5701816"/>
            <a:ext cx="340197" cy="405178"/>
          </a:xfrm>
          <a:prstGeom prst="rect">
            <a:avLst/>
          </a:prstGeom>
        </p:spPr>
      </p:pic>
      <p:pic>
        <p:nvPicPr>
          <p:cNvPr id="20" name="Grafik 19"/>
          <p:cNvPicPr>
            <a:picLocks noChangeAspect="1"/>
          </p:cNvPicPr>
          <p:nvPr/>
        </p:nvPicPr>
        <p:blipFill>
          <a:blip r:embed="rId13">
            <a:duotone>
              <a:schemeClr val="bg2">
                <a:shade val="45000"/>
                <a:satMod val="135000"/>
              </a:schemeClr>
              <a:prstClr val="white"/>
            </a:duotone>
          </a:blip>
          <a:stretch>
            <a:fillRect/>
          </a:stretch>
        </p:blipFill>
        <p:spPr>
          <a:xfrm>
            <a:off x="7966351" y="5701816"/>
            <a:ext cx="340197" cy="405178"/>
          </a:xfrm>
          <a:prstGeom prst="rect">
            <a:avLst/>
          </a:prstGeom>
        </p:spPr>
      </p:pic>
      <p:pic>
        <p:nvPicPr>
          <p:cNvPr id="21" name="Grafik 20"/>
          <p:cNvPicPr>
            <a:picLocks noChangeAspect="1"/>
          </p:cNvPicPr>
          <p:nvPr/>
        </p:nvPicPr>
        <p:blipFill>
          <a:blip r:embed="rId14"/>
          <a:stretch>
            <a:fillRect/>
          </a:stretch>
        </p:blipFill>
        <p:spPr>
          <a:xfrm>
            <a:off x="8255259" y="5701816"/>
            <a:ext cx="340197" cy="405178"/>
          </a:xfrm>
          <a:prstGeom prst="rect">
            <a:avLst/>
          </a:prstGeom>
        </p:spPr>
      </p:pic>
      <p:pic>
        <p:nvPicPr>
          <p:cNvPr id="22" name="Grafik 21"/>
          <p:cNvPicPr>
            <a:picLocks noChangeAspect="1"/>
          </p:cNvPicPr>
          <p:nvPr/>
        </p:nvPicPr>
        <p:blipFill>
          <a:blip r:embed="rId15">
            <a:duotone>
              <a:schemeClr val="bg2">
                <a:shade val="45000"/>
                <a:satMod val="135000"/>
              </a:schemeClr>
              <a:prstClr val="white"/>
            </a:duotone>
          </a:blip>
          <a:stretch>
            <a:fillRect/>
          </a:stretch>
        </p:blipFill>
        <p:spPr>
          <a:xfrm>
            <a:off x="8544167" y="5701816"/>
            <a:ext cx="340197" cy="405178"/>
          </a:xfrm>
          <a:prstGeom prst="rect">
            <a:avLst/>
          </a:prstGeom>
        </p:spPr>
      </p:pic>
      <p:pic>
        <p:nvPicPr>
          <p:cNvPr id="23" name="Grafik 22"/>
          <p:cNvPicPr>
            <a:picLocks noChangeAspect="1"/>
          </p:cNvPicPr>
          <p:nvPr/>
        </p:nvPicPr>
        <p:blipFill>
          <a:blip r:embed="rId16">
            <a:duotone>
              <a:schemeClr val="bg2">
                <a:shade val="45000"/>
                <a:satMod val="135000"/>
              </a:schemeClr>
              <a:prstClr val="white"/>
            </a:duotone>
          </a:blip>
          <a:stretch>
            <a:fillRect/>
          </a:stretch>
        </p:blipFill>
        <p:spPr>
          <a:xfrm>
            <a:off x="8833075" y="5701816"/>
            <a:ext cx="340197" cy="405178"/>
          </a:xfrm>
          <a:prstGeom prst="rect">
            <a:avLst/>
          </a:prstGeom>
        </p:spPr>
      </p:pic>
      <p:pic>
        <p:nvPicPr>
          <p:cNvPr id="24" name="Grafik 23"/>
          <p:cNvPicPr>
            <a:picLocks noChangeAspect="1"/>
          </p:cNvPicPr>
          <p:nvPr/>
        </p:nvPicPr>
        <p:blipFill>
          <a:blip r:embed="rId17">
            <a:duotone>
              <a:schemeClr val="bg2">
                <a:shade val="45000"/>
                <a:satMod val="135000"/>
              </a:schemeClr>
              <a:prstClr val="white"/>
            </a:duotone>
          </a:blip>
          <a:stretch>
            <a:fillRect/>
          </a:stretch>
        </p:blipFill>
        <p:spPr>
          <a:xfrm>
            <a:off x="9121985" y="5701816"/>
            <a:ext cx="340197" cy="405178"/>
          </a:xfrm>
          <a:prstGeom prst="rect">
            <a:avLst/>
          </a:prstGeom>
        </p:spPr>
      </p:pic>
      <p:sp>
        <p:nvSpPr>
          <p:cNvPr id="17"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Depreciation and investments over time</a:t>
            </a:r>
          </a:p>
        </p:txBody>
      </p:sp>
      <p:pic>
        <p:nvPicPr>
          <p:cNvPr id="2" name="Grafik 1"/>
          <p:cNvPicPr>
            <a:picLocks noChangeAspect="1"/>
          </p:cNvPicPr>
          <p:nvPr>
            <p:custDataLst>
              <p:tags r:id="rId3"/>
            </p:custDataLst>
          </p:nvPr>
        </p:nvPicPr>
        <p:blipFill>
          <a:blip r:embed="rId18"/>
          <a:stretch>
            <a:fillRect/>
          </a:stretch>
        </p:blipFill>
        <p:spPr>
          <a:xfrm>
            <a:off x="2455042" y="3993318"/>
            <a:ext cx="3396743" cy="1594047"/>
          </a:xfrm>
          <a:prstGeom prst="rect">
            <a:avLst/>
          </a:prstGeom>
        </p:spPr>
      </p:pic>
      <p:pic>
        <p:nvPicPr>
          <p:cNvPr id="9" name="Grafik 8"/>
          <p:cNvPicPr>
            <a:picLocks noChangeAspect="1"/>
          </p:cNvPicPr>
          <p:nvPr>
            <p:custDataLst>
              <p:tags r:id="rId4"/>
            </p:custDataLst>
          </p:nvPr>
        </p:nvPicPr>
        <p:blipFill rotWithShape="1">
          <a:blip r:embed="rId19"/>
          <a:srcRect l="2020" t="12672" r="22267" b="19915"/>
          <a:stretch/>
        </p:blipFill>
        <p:spPr>
          <a:xfrm>
            <a:off x="2453640" y="1752600"/>
            <a:ext cx="3390900" cy="1844040"/>
          </a:xfrm>
          <a:prstGeom prst="rect">
            <a:avLst/>
          </a:prstGeom>
        </p:spPr>
      </p:pic>
      <p:sp>
        <p:nvSpPr>
          <p:cNvPr id="25" name="Text Box 8"/>
          <p:cNvSpPr txBox="1">
            <a:spLocks noChangeArrowheads="1"/>
          </p:cNvSpPr>
          <p:nvPr/>
        </p:nvSpPr>
        <p:spPr bwMode="gray">
          <a:xfrm>
            <a:off x="2455042" y="3625712"/>
            <a:ext cx="3396743" cy="210314"/>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762000" eaLnBrk="0" hangingPunct="0">
              <a:spcBef>
                <a:spcPts val="200"/>
              </a:spcBef>
              <a:tabLst>
                <a:tab pos="355600" algn="l"/>
              </a:tabLst>
            </a:pPr>
            <a:r>
              <a:rPr lang="en-US" sz="600" dirty="0" smtClean="0">
                <a:latin typeface="Arial"/>
                <a:cs typeface="Arial" pitchFamily="34" charset="0"/>
              </a:rPr>
              <a:t>Note:	(a)	Depreciation ratio = Depreciation/Sales</a:t>
            </a:r>
          </a:p>
          <a:p>
            <a:pPr marL="534988" indent="-534988" defTabSz="762000" eaLnBrk="0" hangingPunct="0">
              <a:spcBef>
                <a:spcPts val="200"/>
              </a:spcBef>
              <a:tabLst>
                <a:tab pos="355600" algn="l"/>
              </a:tabLst>
            </a:pPr>
            <a:r>
              <a:rPr lang="en-US" sz="600" dirty="0" smtClean="0">
                <a:latin typeface="Arial"/>
                <a:cs typeface="Arial" pitchFamily="34" charset="0"/>
              </a:rPr>
              <a:t>	(b)	Investment ratio = Investments/Sales</a:t>
            </a:r>
          </a:p>
        </p:txBody>
      </p:sp>
      <p:grpSp>
        <p:nvGrpSpPr>
          <p:cNvPr id="26" name="Group 2"/>
          <p:cNvGrpSpPr/>
          <p:nvPr>
            <p:custDataLst>
              <p:tags r:id="rId5"/>
            </p:custDataLst>
          </p:nvPr>
        </p:nvGrpSpPr>
        <p:grpSpPr>
          <a:xfrm>
            <a:off x="2987040" y="1676401"/>
            <a:ext cx="2400300" cy="1569720"/>
            <a:chOff x="-755730" y="5561012"/>
            <a:chExt cx="2174657" cy="1624013"/>
          </a:xfrm>
        </p:grpSpPr>
        <p:sp>
          <p:nvSpPr>
            <p:cNvPr id="27" name="Rectangle 2"/>
            <p:cNvSpPr>
              <a:spLocks noChangeArrowheads="1"/>
            </p:cNvSpPr>
            <p:nvPr>
              <p:custDataLst>
                <p:tags r:id="rId8"/>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29" name="Rectangle 2"/>
            <p:cNvSpPr>
              <a:spLocks noChangeArrowheads="1"/>
            </p:cNvSpPr>
            <p:nvPr>
              <p:custDataLst>
                <p:tags r:id="rId9"/>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pic>
        <p:nvPicPr>
          <p:cNvPr id="10" name="Grafik 9"/>
          <p:cNvPicPr>
            <a:picLocks noChangeAspect="1"/>
          </p:cNvPicPr>
          <p:nvPr>
            <p:custDataLst>
              <p:tags r:id="rId6"/>
            </p:custDataLst>
          </p:nvPr>
        </p:nvPicPr>
        <p:blipFill>
          <a:blip r:embed="rId20"/>
          <a:stretch>
            <a:fillRect/>
          </a:stretch>
        </p:blipFill>
        <p:spPr>
          <a:xfrm>
            <a:off x="-2799497" y="3596640"/>
            <a:ext cx="1975275" cy="2219136"/>
          </a:xfrm>
          <a:prstGeom prst="rect">
            <a:avLst/>
          </a:prstGeom>
        </p:spPr>
      </p:pic>
      <p:pic>
        <p:nvPicPr>
          <p:cNvPr id="13" name="Grafik 12"/>
          <p:cNvPicPr>
            <a:picLocks noChangeAspect="1"/>
          </p:cNvPicPr>
          <p:nvPr>
            <p:custDataLst>
              <p:tags r:id="rId7"/>
            </p:custDataLst>
          </p:nvPr>
        </p:nvPicPr>
        <p:blipFill>
          <a:blip r:embed="rId21"/>
          <a:stretch>
            <a:fillRect/>
          </a:stretch>
        </p:blipFill>
        <p:spPr>
          <a:xfrm>
            <a:off x="-2799497" y="1177925"/>
            <a:ext cx="2005758" cy="2225233"/>
          </a:xfrm>
          <a:prstGeom prst="rect">
            <a:avLst/>
          </a:prstGeom>
        </p:spPr>
      </p:pic>
    </p:spTree>
    <p:extLst>
      <p:ext uri="{BB962C8B-B14F-4D97-AF65-F5344CB8AC3E}">
        <p14:creationId xmlns:p14="http://schemas.microsoft.com/office/powerpoint/2010/main" val="189548752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Volume and development of the depreciation and investment ratio of the XXX AG are comparable to that of competitors.</a:t>
            </a:r>
          </a:p>
          <a:p>
            <a:r>
              <a:rPr lang="en-US" noProof="0" dirty="0"/>
              <a:t>Based on these statements/data/assumptions, we consider the investment and depreciation planning of the XXX AG to be ambitious/optimistic/ realistic/plausible</a:t>
            </a:r>
            <a:r>
              <a:rPr lang="en-US" noProof="0" dirty="0" smtClean="0"/>
              <a:t>/</a:t>
            </a:r>
            <a:br>
              <a:rPr lang="en-US" noProof="0" dirty="0" smtClean="0"/>
            </a:br>
            <a:r>
              <a:rPr lang="en-US" noProof="0" dirty="0" smtClean="0"/>
              <a:t>conservative/cautious</a:t>
            </a:r>
            <a:r>
              <a:rPr lang="en-US" noProof="0" dirty="0"/>
              <a:t>/….</a:t>
            </a:r>
          </a:p>
        </p:txBody>
      </p:sp>
      <p:sp>
        <p:nvSpPr>
          <p:cNvPr id="5" name="Textplatzhalter 4"/>
          <p:cNvSpPr>
            <a:spLocks noGrp="1"/>
          </p:cNvSpPr>
          <p:nvPr>
            <p:ph type="body" sz="quarter" idx="12"/>
          </p:nvPr>
        </p:nvSpPr>
        <p:spPr>
          <a:xfrm>
            <a:off x="6028690" y="1422400"/>
            <a:ext cx="3402000" cy="4604400"/>
          </a:xfrm>
        </p:spPr>
        <p:txBody>
          <a:bodyPr/>
          <a:lstStyle/>
          <a:p>
            <a:pPr lvl="2">
              <a:lnSpc>
                <a:spcPct val="95000"/>
              </a:lnSpc>
              <a:spcBef>
                <a:spcPts val="300"/>
              </a:spcBef>
            </a:pPr>
            <a:r>
              <a:rPr lang="en-US" noProof="0" dirty="0" smtClean="0"/>
              <a:t>[….Explanation of depreciation and investment compared to competition XXX if applicable explanation of differences in balancing (Opex vs. Capex), financing (purchase vs. lease/rental), etc. …]</a:t>
            </a:r>
          </a:p>
          <a:p>
            <a:pPr lvl="2">
              <a:lnSpc>
                <a:spcPct val="95000"/>
              </a:lnSpc>
              <a:spcBef>
                <a:spcPts val="300"/>
              </a:spcBef>
            </a:pPr>
            <a:endParaRPr lang="en-US" noProof="0" dirty="0"/>
          </a:p>
        </p:txBody>
      </p:sp>
      <p:sp>
        <p:nvSpPr>
          <p:cNvPr id="4" name="Titel 3"/>
          <p:cNvSpPr>
            <a:spLocks noGrp="1"/>
          </p:cNvSpPr>
          <p:nvPr>
            <p:ph type="title"/>
          </p:nvPr>
        </p:nvSpPr>
        <p:spPr/>
        <p:txBody>
          <a:bodyPr/>
          <a:lstStyle/>
          <a:p>
            <a:r>
              <a:rPr lang="en-US" noProof="0" dirty="0"/>
              <a:t>6. Has depreciation been plausibly planned? </a:t>
            </a:r>
            <a:r>
              <a:rPr lang="en-US" noProof="0" dirty="0" smtClean="0"/>
              <a:t>(2/3)</a:t>
            </a:r>
            <a:endParaRPr lang="en-US" noProof="0" dirty="0"/>
          </a:p>
        </p:txBody>
      </p:sp>
      <p:sp>
        <p:nvSpPr>
          <p:cNvPr id="3" name="Textplatzhalter 2"/>
          <p:cNvSpPr>
            <a:spLocks noGrp="1"/>
          </p:cNvSpPr>
          <p:nvPr>
            <p:ph type="body" sz="quarter" idx="13"/>
          </p:nvPr>
        </p:nvSpPr>
        <p:spPr/>
        <p:txBody>
          <a:bodyPr/>
          <a:lstStyle/>
          <a:p>
            <a:r>
              <a:rPr lang="en-US" noProof="0" dirty="0"/>
              <a:t>Expenditures from Gross Profit to EBIT Total Cost Method (Planning)</a:t>
            </a:r>
          </a:p>
        </p:txBody>
      </p:sp>
      <p:graphicFrame>
        <p:nvGraphicFramePr>
          <p:cNvPr id="39"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0">
            <a:duotone>
              <a:schemeClr val="bg2">
                <a:shade val="45000"/>
                <a:satMod val="135000"/>
              </a:schemeClr>
              <a:prstClr val="white"/>
            </a:duotone>
          </a:blip>
          <a:stretch>
            <a:fillRect/>
          </a:stretch>
        </p:blipFill>
        <p:spPr>
          <a:xfrm>
            <a:off x="7677443" y="5701816"/>
            <a:ext cx="340197" cy="405178"/>
          </a:xfrm>
          <a:prstGeom prst="rect">
            <a:avLst/>
          </a:prstGeom>
        </p:spPr>
      </p:pic>
      <p:pic>
        <p:nvPicPr>
          <p:cNvPr id="20" name="Grafik 19"/>
          <p:cNvPicPr>
            <a:picLocks noChangeAspect="1"/>
          </p:cNvPicPr>
          <p:nvPr/>
        </p:nvPicPr>
        <p:blipFill>
          <a:blip r:embed="rId11">
            <a:duotone>
              <a:schemeClr val="bg2">
                <a:shade val="45000"/>
                <a:satMod val="135000"/>
              </a:schemeClr>
              <a:prstClr val="white"/>
            </a:duotone>
          </a:blip>
          <a:stretch>
            <a:fillRect/>
          </a:stretch>
        </p:blipFill>
        <p:spPr>
          <a:xfrm>
            <a:off x="7966351" y="5701816"/>
            <a:ext cx="340197" cy="405178"/>
          </a:xfrm>
          <a:prstGeom prst="rect">
            <a:avLst/>
          </a:prstGeom>
        </p:spPr>
      </p:pic>
      <p:pic>
        <p:nvPicPr>
          <p:cNvPr id="21" name="Grafik 20"/>
          <p:cNvPicPr>
            <a:picLocks noChangeAspect="1"/>
          </p:cNvPicPr>
          <p:nvPr/>
        </p:nvPicPr>
        <p:blipFill>
          <a:blip r:embed="rId12"/>
          <a:stretch>
            <a:fillRect/>
          </a:stretch>
        </p:blipFill>
        <p:spPr>
          <a:xfrm>
            <a:off x="8255259" y="5701816"/>
            <a:ext cx="340197" cy="405178"/>
          </a:xfrm>
          <a:prstGeom prst="rect">
            <a:avLst/>
          </a:prstGeom>
        </p:spPr>
      </p:pic>
      <p:pic>
        <p:nvPicPr>
          <p:cNvPr id="22" name="Grafik 21"/>
          <p:cNvPicPr>
            <a:picLocks noChangeAspect="1"/>
          </p:cNvPicPr>
          <p:nvPr/>
        </p:nvPicPr>
        <p:blipFill>
          <a:blip r:embed="rId13">
            <a:duotone>
              <a:schemeClr val="bg2">
                <a:shade val="45000"/>
                <a:satMod val="135000"/>
              </a:schemeClr>
              <a:prstClr val="white"/>
            </a:duotone>
          </a:blip>
          <a:stretch>
            <a:fillRect/>
          </a:stretch>
        </p:blipFill>
        <p:spPr>
          <a:xfrm>
            <a:off x="8544167" y="5701816"/>
            <a:ext cx="340197" cy="405178"/>
          </a:xfrm>
          <a:prstGeom prst="rect">
            <a:avLst/>
          </a:prstGeom>
        </p:spPr>
      </p:pic>
      <p:pic>
        <p:nvPicPr>
          <p:cNvPr id="23" name="Grafik 22"/>
          <p:cNvPicPr>
            <a:picLocks noChangeAspect="1"/>
          </p:cNvPicPr>
          <p:nvPr/>
        </p:nvPicPr>
        <p:blipFill>
          <a:blip r:embed="rId14">
            <a:duotone>
              <a:schemeClr val="bg2">
                <a:shade val="45000"/>
                <a:satMod val="135000"/>
              </a:schemeClr>
              <a:prstClr val="white"/>
            </a:duotone>
          </a:blip>
          <a:stretch>
            <a:fillRect/>
          </a:stretch>
        </p:blipFill>
        <p:spPr>
          <a:xfrm>
            <a:off x="8833075" y="5701816"/>
            <a:ext cx="340197" cy="405178"/>
          </a:xfrm>
          <a:prstGeom prst="rect">
            <a:avLst/>
          </a:prstGeom>
        </p:spPr>
      </p:pic>
      <p:pic>
        <p:nvPicPr>
          <p:cNvPr id="24" name="Grafik 23"/>
          <p:cNvPicPr>
            <a:picLocks noChangeAspect="1"/>
          </p:cNvPicPr>
          <p:nvPr/>
        </p:nvPicPr>
        <p:blipFill>
          <a:blip r:embed="rId15">
            <a:duotone>
              <a:schemeClr val="bg2">
                <a:shade val="45000"/>
                <a:satMod val="135000"/>
              </a:schemeClr>
              <a:prstClr val="white"/>
            </a:duotone>
          </a:blip>
          <a:stretch>
            <a:fillRect/>
          </a:stretch>
        </p:blipFill>
        <p:spPr>
          <a:xfrm>
            <a:off x="9121985" y="5701816"/>
            <a:ext cx="340197" cy="405178"/>
          </a:xfrm>
          <a:prstGeom prst="rect">
            <a:avLst/>
          </a:prstGeom>
        </p:spPr>
      </p:pic>
      <p:sp>
        <p:nvSpPr>
          <p:cNvPr id="17"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Depreciation ratio in comparison to peer group</a:t>
            </a:r>
          </a:p>
        </p:txBody>
      </p:sp>
      <p:sp>
        <p:nvSpPr>
          <p:cNvPr id="31" name="Text Placeholder 12"/>
          <p:cNvSpPr txBox="1">
            <a:spLocks/>
          </p:cNvSpPr>
          <p:nvPr>
            <p:custDataLst>
              <p:tags r:id="rId3"/>
            </p:custDataLst>
          </p:nvPr>
        </p:nvSpPr>
        <p:spPr>
          <a:xfrm>
            <a:off x="2447922" y="38227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Investment ratio in comparison to peer group</a:t>
            </a:r>
          </a:p>
        </p:txBody>
      </p:sp>
      <p:pic>
        <p:nvPicPr>
          <p:cNvPr id="13" name="Grafik 12"/>
          <p:cNvPicPr>
            <a:picLocks noChangeAspect="1"/>
          </p:cNvPicPr>
          <p:nvPr>
            <p:custDataLst>
              <p:tags r:id="rId4"/>
            </p:custDataLst>
          </p:nvPr>
        </p:nvPicPr>
        <p:blipFill rotWithShape="1">
          <a:blip r:embed="rId16"/>
          <a:srcRect l="5934" t="3401" r="29607" b="17357"/>
          <a:stretch/>
        </p:blipFill>
        <p:spPr>
          <a:xfrm>
            <a:off x="2447109" y="1584960"/>
            <a:ext cx="3108960" cy="2142309"/>
          </a:xfrm>
          <a:prstGeom prst="rect">
            <a:avLst/>
          </a:prstGeom>
        </p:spPr>
      </p:pic>
      <p:pic>
        <p:nvPicPr>
          <p:cNvPr id="18" name="Grafik 17"/>
          <p:cNvPicPr>
            <a:picLocks noChangeAspect="1"/>
          </p:cNvPicPr>
          <p:nvPr>
            <p:custDataLst>
              <p:tags r:id="rId5"/>
            </p:custDataLst>
          </p:nvPr>
        </p:nvPicPr>
        <p:blipFill rotWithShape="1">
          <a:blip r:embed="rId17"/>
          <a:srcRect l="2001" r="33321" b="19587"/>
          <a:stretch/>
        </p:blipFill>
        <p:spPr>
          <a:xfrm>
            <a:off x="2447109" y="3849796"/>
            <a:ext cx="3126377" cy="2167828"/>
          </a:xfrm>
          <a:prstGeom prst="rect">
            <a:avLst/>
          </a:prstGeom>
        </p:spPr>
      </p:pic>
      <p:pic>
        <p:nvPicPr>
          <p:cNvPr id="7" name="Grafik 6"/>
          <p:cNvPicPr>
            <a:picLocks noChangeAspect="1"/>
          </p:cNvPicPr>
          <p:nvPr>
            <p:custDataLst>
              <p:tags r:id="rId6"/>
            </p:custDataLst>
          </p:nvPr>
        </p:nvPicPr>
        <p:blipFill>
          <a:blip r:embed="rId18"/>
          <a:stretch>
            <a:fillRect/>
          </a:stretch>
        </p:blipFill>
        <p:spPr>
          <a:xfrm>
            <a:off x="-2793400" y="2204260"/>
            <a:ext cx="1999661" cy="2219136"/>
          </a:xfrm>
          <a:prstGeom prst="rect">
            <a:avLst/>
          </a:prstGeom>
        </p:spPr>
      </p:pic>
      <p:pic>
        <p:nvPicPr>
          <p:cNvPr id="9" name="Grafik 8"/>
          <p:cNvPicPr>
            <a:picLocks noChangeAspect="1"/>
          </p:cNvPicPr>
          <p:nvPr>
            <p:custDataLst>
              <p:tags r:id="rId7"/>
            </p:custDataLst>
          </p:nvPr>
        </p:nvPicPr>
        <p:blipFill>
          <a:blip r:embed="rId19"/>
          <a:stretch>
            <a:fillRect/>
          </a:stretch>
        </p:blipFill>
        <p:spPr>
          <a:xfrm>
            <a:off x="-2793400" y="4632767"/>
            <a:ext cx="1999661" cy="2225233"/>
          </a:xfrm>
          <a:prstGeom prst="rect">
            <a:avLst/>
          </a:prstGeom>
        </p:spPr>
      </p:pic>
    </p:spTree>
    <p:extLst>
      <p:ext uri="{BB962C8B-B14F-4D97-AF65-F5344CB8AC3E}">
        <p14:creationId xmlns:p14="http://schemas.microsoft.com/office/powerpoint/2010/main" val="425286450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Volume and development of the depreciation and investment rate of the XXX AG are comparable to that of analysts’ expectations.</a:t>
            </a:r>
          </a:p>
          <a:p>
            <a:r>
              <a:rPr lang="en-US" noProof="0" dirty="0"/>
              <a:t>Based on these statements/data/assumptions, we consider the investment and depreciation planning of the XXX AG to be ambitious/optimistic/ realistic/plausible</a:t>
            </a:r>
            <a:r>
              <a:rPr lang="en-US" noProof="0" dirty="0" smtClean="0"/>
              <a:t>/</a:t>
            </a:r>
            <a:br>
              <a:rPr lang="en-US" noProof="0" dirty="0" smtClean="0"/>
            </a:br>
            <a:r>
              <a:rPr lang="en-US" noProof="0" dirty="0" smtClean="0"/>
              <a:t>conservative/cautious</a:t>
            </a:r>
            <a:r>
              <a:rPr lang="en-US" noProof="0" dirty="0"/>
              <a:t>/….</a:t>
            </a:r>
          </a:p>
        </p:txBody>
      </p:sp>
      <p:sp>
        <p:nvSpPr>
          <p:cNvPr id="5" name="Textplatzhalter 4"/>
          <p:cNvSpPr>
            <a:spLocks noGrp="1"/>
          </p:cNvSpPr>
          <p:nvPr>
            <p:ph type="body" sz="quarter" idx="12"/>
          </p:nvPr>
        </p:nvSpPr>
        <p:spPr>
          <a:xfrm>
            <a:off x="6028690" y="1422400"/>
            <a:ext cx="3402000" cy="4604400"/>
          </a:xfrm>
        </p:spPr>
        <p:txBody>
          <a:bodyPr/>
          <a:lstStyle/>
          <a:p>
            <a:pPr lvl="2">
              <a:lnSpc>
                <a:spcPct val="95000"/>
              </a:lnSpc>
              <a:spcBef>
                <a:spcPts val="300"/>
              </a:spcBef>
            </a:pPr>
            <a:r>
              <a:rPr lang="en-US" noProof="0" dirty="0" smtClean="0"/>
              <a:t>XXX</a:t>
            </a:r>
            <a:endParaRPr lang="en-US" noProof="0" dirty="0"/>
          </a:p>
        </p:txBody>
      </p:sp>
      <p:sp>
        <p:nvSpPr>
          <p:cNvPr id="4" name="Titel 3"/>
          <p:cNvSpPr>
            <a:spLocks noGrp="1"/>
          </p:cNvSpPr>
          <p:nvPr>
            <p:ph type="title"/>
          </p:nvPr>
        </p:nvSpPr>
        <p:spPr/>
        <p:txBody>
          <a:bodyPr/>
          <a:lstStyle/>
          <a:p>
            <a:r>
              <a:rPr lang="en-US" noProof="0" dirty="0"/>
              <a:t>6. Has depreciation been plausibly planned? </a:t>
            </a:r>
            <a:r>
              <a:rPr lang="en-US" noProof="0" dirty="0" smtClean="0"/>
              <a:t>(3/3</a:t>
            </a:r>
            <a:r>
              <a:rPr lang="en-US" noProof="0" dirty="0"/>
              <a:t>)</a:t>
            </a:r>
          </a:p>
        </p:txBody>
      </p:sp>
      <p:sp>
        <p:nvSpPr>
          <p:cNvPr id="3" name="Textplatzhalter 2"/>
          <p:cNvSpPr>
            <a:spLocks noGrp="1"/>
          </p:cNvSpPr>
          <p:nvPr>
            <p:ph type="body" sz="quarter" idx="13"/>
          </p:nvPr>
        </p:nvSpPr>
        <p:spPr/>
        <p:txBody>
          <a:bodyPr/>
          <a:lstStyle/>
          <a:p>
            <a:r>
              <a:rPr lang="en-US" noProof="0" dirty="0"/>
              <a:t>Expenditures from Gross Profit to EBIT Total Cost Method (Planning)</a:t>
            </a:r>
          </a:p>
        </p:txBody>
      </p:sp>
      <p:graphicFrame>
        <p:nvGraphicFramePr>
          <p:cNvPr id="39" name="Group 90"/>
          <p:cNvGraphicFramePr>
            <a:graphicFrameLocks noGrp="1"/>
          </p:cNvGraphicFramePr>
          <p:nvPr>
            <p:custDataLst>
              <p:tags r:id="rId2"/>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8">
            <a:duotone>
              <a:schemeClr val="bg2">
                <a:shade val="45000"/>
                <a:satMod val="135000"/>
              </a:schemeClr>
              <a:prstClr val="white"/>
            </a:duotone>
          </a:blip>
          <a:stretch>
            <a:fillRect/>
          </a:stretch>
        </p:blipFill>
        <p:spPr>
          <a:xfrm>
            <a:off x="7677443" y="5701816"/>
            <a:ext cx="340197" cy="405178"/>
          </a:xfrm>
          <a:prstGeom prst="rect">
            <a:avLst/>
          </a:prstGeom>
        </p:spPr>
      </p:pic>
      <p:pic>
        <p:nvPicPr>
          <p:cNvPr id="20" name="Grafik 19"/>
          <p:cNvPicPr>
            <a:picLocks noChangeAspect="1"/>
          </p:cNvPicPr>
          <p:nvPr/>
        </p:nvPicPr>
        <p:blipFill>
          <a:blip r:embed="rId9">
            <a:duotone>
              <a:schemeClr val="bg2">
                <a:shade val="45000"/>
                <a:satMod val="135000"/>
              </a:schemeClr>
              <a:prstClr val="white"/>
            </a:duotone>
          </a:blip>
          <a:stretch>
            <a:fillRect/>
          </a:stretch>
        </p:blipFill>
        <p:spPr>
          <a:xfrm>
            <a:off x="7966351" y="5701816"/>
            <a:ext cx="340197" cy="405178"/>
          </a:xfrm>
          <a:prstGeom prst="rect">
            <a:avLst/>
          </a:prstGeom>
        </p:spPr>
      </p:pic>
      <p:pic>
        <p:nvPicPr>
          <p:cNvPr id="21" name="Grafik 20"/>
          <p:cNvPicPr>
            <a:picLocks noChangeAspect="1"/>
          </p:cNvPicPr>
          <p:nvPr/>
        </p:nvPicPr>
        <p:blipFill>
          <a:blip r:embed="rId10"/>
          <a:stretch>
            <a:fillRect/>
          </a:stretch>
        </p:blipFill>
        <p:spPr>
          <a:xfrm>
            <a:off x="8255259" y="5701816"/>
            <a:ext cx="340197" cy="405178"/>
          </a:xfrm>
          <a:prstGeom prst="rect">
            <a:avLst/>
          </a:prstGeom>
        </p:spPr>
      </p:pic>
      <p:pic>
        <p:nvPicPr>
          <p:cNvPr id="22" name="Grafik 21"/>
          <p:cNvPicPr>
            <a:picLocks noChangeAspect="1"/>
          </p:cNvPicPr>
          <p:nvPr/>
        </p:nvPicPr>
        <p:blipFill>
          <a:blip r:embed="rId11">
            <a:duotone>
              <a:schemeClr val="bg2">
                <a:shade val="45000"/>
                <a:satMod val="135000"/>
              </a:schemeClr>
              <a:prstClr val="white"/>
            </a:duotone>
          </a:blip>
          <a:stretch>
            <a:fillRect/>
          </a:stretch>
        </p:blipFill>
        <p:spPr>
          <a:xfrm>
            <a:off x="8544167" y="5701816"/>
            <a:ext cx="340197" cy="405178"/>
          </a:xfrm>
          <a:prstGeom prst="rect">
            <a:avLst/>
          </a:prstGeom>
        </p:spPr>
      </p:pic>
      <p:pic>
        <p:nvPicPr>
          <p:cNvPr id="23" name="Grafik 22"/>
          <p:cNvPicPr>
            <a:picLocks noChangeAspect="1"/>
          </p:cNvPicPr>
          <p:nvPr/>
        </p:nvPicPr>
        <p:blipFill>
          <a:blip r:embed="rId12">
            <a:duotone>
              <a:schemeClr val="bg2">
                <a:shade val="45000"/>
                <a:satMod val="135000"/>
              </a:schemeClr>
              <a:prstClr val="white"/>
            </a:duotone>
          </a:blip>
          <a:stretch>
            <a:fillRect/>
          </a:stretch>
        </p:blipFill>
        <p:spPr>
          <a:xfrm>
            <a:off x="8833075" y="5701816"/>
            <a:ext cx="340197" cy="405178"/>
          </a:xfrm>
          <a:prstGeom prst="rect">
            <a:avLst/>
          </a:prstGeom>
        </p:spPr>
      </p:pic>
      <p:pic>
        <p:nvPicPr>
          <p:cNvPr id="24" name="Grafik 23"/>
          <p:cNvPicPr>
            <a:picLocks noChangeAspect="1"/>
          </p:cNvPicPr>
          <p:nvPr/>
        </p:nvPicPr>
        <p:blipFill>
          <a:blip r:embed="rId13">
            <a:duotone>
              <a:schemeClr val="bg2">
                <a:shade val="45000"/>
                <a:satMod val="135000"/>
              </a:schemeClr>
              <a:prstClr val="white"/>
            </a:duotone>
          </a:blip>
          <a:stretch>
            <a:fillRect/>
          </a:stretch>
        </p:blipFill>
        <p:spPr>
          <a:xfrm>
            <a:off x="9121985" y="5701816"/>
            <a:ext cx="340197" cy="405178"/>
          </a:xfrm>
          <a:prstGeom prst="rect">
            <a:avLst/>
          </a:prstGeom>
        </p:spPr>
      </p:pic>
      <p:sp>
        <p:nvSpPr>
          <p:cNvPr id="17" name="Text Placeholder 12"/>
          <p:cNvSpPr txBox="1">
            <a:spLocks/>
          </p:cNvSpPr>
          <p:nvPr>
            <p:custDataLst>
              <p:tags r:id="rId3"/>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Investment rate in comparison to analysts' expectations</a:t>
            </a:r>
          </a:p>
        </p:txBody>
      </p:sp>
      <p:pic>
        <p:nvPicPr>
          <p:cNvPr id="12" name="Grafik 11"/>
          <p:cNvPicPr>
            <a:picLocks noChangeAspect="1"/>
          </p:cNvPicPr>
          <p:nvPr>
            <p:custDataLst>
              <p:tags r:id="rId4"/>
            </p:custDataLst>
          </p:nvPr>
        </p:nvPicPr>
        <p:blipFill rotWithShape="1">
          <a:blip r:embed="rId14"/>
          <a:srcRect l="1753" t="9722" r="21697" b="19324"/>
          <a:stretch/>
        </p:blipFill>
        <p:spPr>
          <a:xfrm>
            <a:off x="2455816" y="1680754"/>
            <a:ext cx="3387635" cy="1942012"/>
          </a:xfrm>
          <a:prstGeom prst="rect">
            <a:avLst/>
          </a:prstGeom>
        </p:spPr>
      </p:pic>
      <p:pic>
        <p:nvPicPr>
          <p:cNvPr id="7" name="Grafik 6"/>
          <p:cNvPicPr>
            <a:picLocks noChangeAspect="1"/>
          </p:cNvPicPr>
          <p:nvPr>
            <p:custDataLst>
              <p:tags r:id="rId5"/>
            </p:custDataLst>
          </p:nvPr>
        </p:nvPicPr>
        <p:blipFill>
          <a:blip r:embed="rId15"/>
          <a:stretch>
            <a:fillRect/>
          </a:stretch>
        </p:blipFill>
        <p:spPr>
          <a:xfrm>
            <a:off x="-2793400" y="2187497"/>
            <a:ext cx="1999661" cy="2225233"/>
          </a:xfrm>
          <a:prstGeom prst="rect">
            <a:avLst/>
          </a:prstGeom>
        </p:spPr>
      </p:pic>
      <p:graphicFrame>
        <p:nvGraphicFramePr>
          <p:cNvPr id="18" name="Objekt 17"/>
          <p:cNvGraphicFramePr>
            <a:graphicFrameLocks noChangeAspect="1"/>
          </p:cNvGraphicFramePr>
          <p:nvPr>
            <p:extLst>
              <p:ext uri="{D42A27DB-BD31-4B8C-83A1-F6EECF244321}">
                <p14:modId xmlns:p14="http://schemas.microsoft.com/office/powerpoint/2010/main" val="1771535851"/>
              </p:ext>
            </p:extLst>
          </p:nvPr>
        </p:nvGraphicFramePr>
        <p:xfrm>
          <a:off x="-1708139" y="4563618"/>
          <a:ext cx="914400" cy="771525"/>
        </p:xfrm>
        <a:graphic>
          <a:graphicData uri="http://schemas.openxmlformats.org/presentationml/2006/ole">
            <mc:AlternateContent xmlns:mc="http://schemas.openxmlformats.org/markup-compatibility/2006">
              <mc:Choice xmlns:v="urn:schemas-microsoft-com:vml" Requires="v">
                <p:oleObj spid="_x0000_s17462" name="Arbeitsblatt" showAsIcon="1" r:id="rId16" imgW="914400" imgH="771480" progId="Excel.Sheet.12">
                  <p:embed/>
                </p:oleObj>
              </mc:Choice>
              <mc:Fallback>
                <p:oleObj name="Arbeitsblatt" showAsIcon="1" r:id="rId16" imgW="914400" imgH="771480" progId="Excel.Sheet.12">
                  <p:embed/>
                  <p:pic>
                    <p:nvPicPr>
                      <p:cNvPr id="0" name=""/>
                      <p:cNvPicPr/>
                      <p:nvPr/>
                    </p:nvPicPr>
                    <p:blipFill>
                      <a:blip r:embed="rId17"/>
                      <a:stretch>
                        <a:fillRect/>
                      </a:stretch>
                    </p:blipFill>
                    <p:spPr>
                      <a:xfrm>
                        <a:off x="-1708139" y="4563618"/>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14416585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endParaRPr lang="en-US" dirty="0"/>
          </a:p>
        </p:txBody>
      </p:sp>
      <p:sp>
        <p:nvSpPr>
          <p:cNvPr id="14" name="Textplatzhalter 13"/>
          <p:cNvSpPr>
            <a:spLocks noGrp="1"/>
          </p:cNvSpPr>
          <p:nvPr>
            <p:ph type="body" sz="quarter" idx="29"/>
          </p:nvPr>
        </p:nvSpPr>
        <p:spPr/>
        <p:txBody>
          <a:bodyPr/>
          <a:lstStyle/>
          <a:p>
            <a:endParaRPr lang="en-US" dirty="0"/>
          </a:p>
        </p:txBody>
      </p:sp>
      <p:sp>
        <p:nvSpPr>
          <p:cNvPr id="13" name="Textplatzhalter 12"/>
          <p:cNvSpPr>
            <a:spLocks noGrp="1"/>
          </p:cNvSpPr>
          <p:nvPr>
            <p:ph type="body" sz="quarter" idx="28"/>
          </p:nvPr>
        </p:nvSpPr>
        <p:spPr/>
        <p:txBody>
          <a:bodyPr/>
          <a:lstStyle/>
          <a:p>
            <a:endParaRPr lang="en-US" dirty="0"/>
          </a:p>
        </p:txBody>
      </p:sp>
      <p:sp>
        <p:nvSpPr>
          <p:cNvPr id="29" name="Text Placeholder 28"/>
          <p:cNvSpPr>
            <a:spLocks noGrp="1"/>
          </p:cNvSpPr>
          <p:nvPr>
            <p:ph type="body" sz="quarter" idx="13"/>
            <p:custDataLst>
              <p:tags r:id="rId1"/>
            </p:custDataLst>
          </p:nvPr>
        </p:nvSpPr>
        <p:spPr/>
        <p:txBody>
          <a:bodyPr/>
          <a:lstStyle/>
          <a:p>
            <a:pPr lvl="0"/>
            <a:r>
              <a:rPr lang="en-US" smtClean="0"/>
              <a:t>© 2017 KPMG International Cooperative (“KPMG International”). KPMG International provides no client services and is a Swiss entity with which the independent member firms of the KPMG network are affiliated.</a:t>
            </a:r>
            <a:endParaRPr lang="en-US" dirty="0"/>
          </a:p>
        </p:txBody>
      </p:sp>
    </p:spTree>
    <p:extLst>
      <p:ext uri="{BB962C8B-B14F-4D97-AF65-F5344CB8AC3E}">
        <p14:creationId xmlns:p14="http://schemas.microsoft.com/office/powerpoint/2010/main" val="4280075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Expenditures from Gross Profit to EBIT Total Cost Method (Planning) </a:t>
            </a:r>
          </a:p>
        </p:txBody>
      </p:sp>
      <p:sp>
        <p:nvSpPr>
          <p:cNvPr id="4" name="Titel 3"/>
          <p:cNvSpPr>
            <a:spLocks noGrp="1"/>
          </p:cNvSpPr>
          <p:nvPr>
            <p:ph type="title"/>
          </p:nvPr>
        </p:nvSpPr>
        <p:spPr/>
        <p:txBody>
          <a:bodyPr/>
          <a:lstStyle/>
          <a:p>
            <a:r>
              <a:rPr lang="en-US" dirty="0" smtClean="0"/>
              <a:t>Overview (1/6) – Mission statement</a:t>
            </a:r>
            <a:endParaRPr lang="en-US" dirty="0"/>
          </a:p>
        </p:txBody>
      </p:sp>
      <p:grpSp>
        <p:nvGrpSpPr>
          <p:cNvPr id="9" name="Gruppieren 8"/>
          <p:cNvGrpSpPr/>
          <p:nvPr/>
        </p:nvGrpSpPr>
        <p:grpSpPr>
          <a:xfrm>
            <a:off x="488950" y="1422400"/>
            <a:ext cx="8928100" cy="398648"/>
            <a:chOff x="272480" y="1196752"/>
            <a:chExt cx="9360470" cy="432048"/>
          </a:xfrm>
        </p:grpSpPr>
        <p:sp>
          <p:nvSpPr>
            <p:cNvPr id="7" name="Textfeld 23"/>
            <p:cNvSpPr txBox="1"/>
            <p:nvPr/>
          </p:nvSpPr>
          <p:spPr>
            <a:xfrm>
              <a:off x="272480" y="1196752"/>
              <a:ext cx="1460045" cy="432048"/>
            </a:xfrm>
            <a:prstGeom prst="rect">
              <a:avLst/>
            </a:prstGeom>
            <a:solidFill>
              <a:schemeClr val="accent1"/>
            </a:solidFill>
            <a:ln w="6350">
              <a:noFill/>
            </a:ln>
          </p:spPr>
          <p:txBody>
            <a:bodyPr wrap="none" lIns="54000" tIns="54000" rIns="54000" bIns="54000" rtlCol="0" anchor="t">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KPMG Light" panose="020B0403030202040204" pitchFamily="34" charset="0"/>
                </a:rPr>
                <a:t>Mission Statement:</a:t>
              </a:r>
              <a:endParaRPr lang="en-US" sz="1200" i="1" dirty="0" smtClean="0">
                <a:solidFill>
                  <a:schemeClr val="bg1"/>
                </a:solidFill>
                <a:latin typeface="KPMG Light" panose="020B0403030202040204" pitchFamily="34" charset="0"/>
                <a:cs typeface="Arial" pitchFamily="34" charset="0"/>
              </a:endParaRPr>
            </a:p>
          </p:txBody>
        </p:sp>
        <p:sp>
          <p:nvSpPr>
            <p:cNvPr id="8" name="Textfeld 23"/>
            <p:cNvSpPr txBox="1"/>
            <p:nvPr/>
          </p:nvSpPr>
          <p:spPr>
            <a:xfrm>
              <a:off x="1732525" y="1196752"/>
              <a:ext cx="7900425" cy="432048"/>
            </a:xfrm>
            <a:prstGeom prst="rect">
              <a:avLst/>
            </a:prstGeom>
            <a:solidFill>
              <a:schemeClr val="accent3"/>
            </a:solidFill>
            <a:ln w="6350">
              <a:noFill/>
            </a:ln>
          </p:spPr>
          <p:txBody>
            <a:bodyPr wrap="square" lIns="54000" tIns="54000" rIns="54000" bIns="54000" rtlCol="0" anchor="ctr">
              <a:noAutofit/>
            </a:bodyPr>
            <a:lstStyle/>
            <a:p>
              <a:pPr lvl="0" defTabSz="762000">
                <a:lnSpc>
                  <a:spcPct val="95000"/>
                </a:lnSpc>
                <a:spcBef>
                  <a:spcPct val="60000"/>
                </a:spcBef>
                <a:buClr>
                  <a:srgbClr val="000066"/>
                </a:buClr>
              </a:pPr>
              <a:r>
                <a:rPr lang="en-US" sz="900" b="1" dirty="0" smtClean="0">
                  <a:solidFill>
                    <a:schemeClr val="bg1"/>
                  </a:solidFill>
                </a:rPr>
                <a:t>The goal is to assess the plausibility of the planning of costs and profit margins on the basis of the transparency of the major planning assumptions and their consistency to past, market and competitive analyses</a:t>
              </a:r>
              <a:endParaRPr lang="en-US" sz="800" i="1" dirty="0">
                <a:solidFill>
                  <a:schemeClr val="bg1"/>
                </a:solidFill>
                <a:latin typeface="Arial" pitchFamily="34" charset="0"/>
                <a:cs typeface="Arial" pitchFamily="34" charset="0"/>
              </a:endParaRPr>
            </a:p>
          </p:txBody>
        </p:sp>
      </p:grpSp>
      <p:sp>
        <p:nvSpPr>
          <p:cNvPr id="26" name="Text Placeholder 5"/>
          <p:cNvSpPr>
            <a:spLocks noGrp="1"/>
          </p:cNvSpPr>
          <p:nvPr>
            <p:ph type="body" sz="quarter" idx="11"/>
          </p:nvPr>
        </p:nvSpPr>
        <p:spPr>
          <a:xfrm>
            <a:off x="498098" y="2153260"/>
            <a:ext cx="1857176" cy="2086159"/>
          </a:xfrm>
          <a:ln w="6350">
            <a:noFill/>
          </a:ln>
        </p:spPr>
        <p:txBody>
          <a:bodyPr vert="horz" lIns="0" tIns="0" rIns="0" bIns="0" rtlCol="0" anchor="t" anchorCtr="0">
            <a:noAutofit/>
          </a:bodyPr>
          <a:lstStyle/>
          <a:p>
            <a:pPr>
              <a:spcAft>
                <a:spcPts val="500"/>
              </a:spcAft>
            </a:pPr>
            <a:r>
              <a:rPr lang="en-US" sz="900" dirty="0" smtClean="0">
                <a:solidFill>
                  <a:schemeClr val="accent1"/>
                </a:solidFill>
              </a:rPr>
              <a:t>Buy Side/Sell Side/JV/Turnaround</a:t>
            </a:r>
          </a:p>
          <a:p>
            <a:pPr lvl="2">
              <a:spcAft>
                <a:spcPts val="500"/>
              </a:spcAft>
            </a:pPr>
            <a:r>
              <a:rPr lang="en-US" dirty="0"/>
              <a:t>Expenditures and margin planning as essential drivers for the derivation of the cash flow and therefore significant drivers for valuations, purchase price determination, assessment of the potential for restructuring</a:t>
            </a:r>
          </a:p>
          <a:p>
            <a:pPr lvl="2">
              <a:spcAft>
                <a:spcPts val="500"/>
              </a:spcAft>
            </a:pPr>
            <a:r>
              <a:rPr lang="en-US" dirty="0"/>
              <a:t>Analysis of the ambitiousness of the planning for negotiations, adjustments of purchase price (e.g. earn outs), internal transactions and tax purposes as well as assessment potential for restructuring</a:t>
            </a:r>
          </a:p>
        </p:txBody>
      </p:sp>
      <p:sp>
        <p:nvSpPr>
          <p:cNvPr id="28" name="Rechteck 18"/>
          <p:cNvSpPr/>
          <p:nvPr/>
        </p:nvSpPr>
        <p:spPr>
          <a:xfrm>
            <a:off x="2493817" y="1875810"/>
            <a:ext cx="6923233"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finition/Methodology/Tools of the basis analysis</a:t>
            </a:r>
            <a:endParaRPr lang="en-US" sz="900" b="1" dirty="0"/>
          </a:p>
        </p:txBody>
      </p:sp>
      <p:sp>
        <p:nvSpPr>
          <p:cNvPr id="29" name="Rechteck 18"/>
          <p:cNvSpPr>
            <a:spLocks/>
          </p:cNvSpPr>
          <p:nvPr/>
        </p:nvSpPr>
        <p:spPr>
          <a:xfrm>
            <a:off x="488950" y="1875810"/>
            <a:ext cx="1864162"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Customer situation</a:t>
            </a:r>
            <a:endParaRPr lang="en-US" sz="900" b="1" dirty="0"/>
          </a:p>
        </p:txBody>
      </p:sp>
      <p:sp>
        <p:nvSpPr>
          <p:cNvPr id="31" name="Rechteck 18"/>
          <p:cNvSpPr>
            <a:spLocks/>
          </p:cNvSpPr>
          <p:nvPr/>
        </p:nvSpPr>
        <p:spPr>
          <a:xfrm>
            <a:off x="498097" y="4606982"/>
            <a:ext cx="1864162"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gree of standardization</a:t>
            </a:r>
            <a:endParaRPr lang="en-US" sz="900" b="1" dirty="0"/>
          </a:p>
        </p:txBody>
      </p:sp>
      <p:sp>
        <p:nvSpPr>
          <p:cNvPr id="32" name="Text Placeholder 5"/>
          <p:cNvSpPr>
            <a:spLocks noGrp="1"/>
          </p:cNvSpPr>
          <p:nvPr>
            <p:ph type="body" sz="quarter" idx="11"/>
          </p:nvPr>
        </p:nvSpPr>
        <p:spPr>
          <a:xfrm>
            <a:off x="488950" y="4913744"/>
            <a:ext cx="1857176" cy="1107643"/>
          </a:xfrm>
          <a:ln w="6350">
            <a:noFill/>
          </a:ln>
        </p:spPr>
        <p:txBody>
          <a:bodyPr vert="horz" lIns="0" tIns="0" rIns="0" bIns="0" rtlCol="0" anchor="t" anchorCtr="0">
            <a:noAutofit/>
          </a:bodyPr>
          <a:lstStyle/>
          <a:p>
            <a:pPr lvl="2">
              <a:spcAft>
                <a:spcPts val="500"/>
              </a:spcAft>
            </a:pPr>
            <a:r>
              <a:rPr lang="en-US" dirty="0"/>
              <a:t>Linking of the past and planning as well as the market and competitive analysis</a:t>
            </a:r>
          </a:p>
          <a:p>
            <a:pPr lvl="2">
              <a:spcAft>
                <a:spcPts val="500"/>
              </a:spcAft>
            </a:pPr>
            <a:r>
              <a:rPr lang="en-US" dirty="0"/>
              <a:t>Provision of Analysis Toolbox</a:t>
            </a:r>
          </a:p>
          <a:p>
            <a:pPr lvl="2">
              <a:spcAft>
                <a:spcPts val="500"/>
              </a:spcAft>
            </a:pPr>
            <a:r>
              <a:rPr lang="en-US" dirty="0"/>
              <a:t>Determination and collection of sector-specific KPIs (Benchmarking Project)</a:t>
            </a:r>
          </a:p>
        </p:txBody>
      </p:sp>
      <p:sp>
        <p:nvSpPr>
          <p:cNvPr id="13" name="Text Placeholder 5"/>
          <p:cNvSpPr>
            <a:spLocks noGrp="1"/>
          </p:cNvSpPr>
          <p:nvPr>
            <p:ph type="body" sz="quarter" idx="11"/>
          </p:nvPr>
        </p:nvSpPr>
        <p:spPr>
          <a:xfrm>
            <a:off x="6267450" y="2153260"/>
            <a:ext cx="3149600" cy="3868128"/>
          </a:xfrm>
          <a:ln w="6350">
            <a:noFill/>
          </a:ln>
        </p:spPr>
        <p:txBody>
          <a:bodyPr vert="horz" lIns="0" tIns="0" rIns="0" bIns="0" rtlCol="0" anchor="t" anchorCtr="0">
            <a:noAutofit/>
          </a:bodyPr>
          <a:lstStyle/>
          <a:p>
            <a:pPr>
              <a:spcBef>
                <a:spcPts val="400"/>
              </a:spcBef>
            </a:pPr>
            <a:r>
              <a:rPr lang="en-US" sz="900" dirty="0" smtClean="0"/>
              <a:t>Definition </a:t>
            </a:r>
          </a:p>
          <a:p>
            <a:pPr lvl="2">
              <a:spcBef>
                <a:spcPts val="400"/>
              </a:spcBef>
              <a:spcAft>
                <a:spcPts val="0"/>
              </a:spcAft>
              <a:defRPr/>
            </a:pPr>
            <a:r>
              <a:rPr lang="en-US" dirty="0"/>
              <a:t>Expenditures and corresponding operative profit margins (gross profit, EBITDA, EBIT) are to be determined in accordance with the last audit report or on the basis of the definition of the Controlling/ Management Reporting of the target with transition to the definition of the audit report</a:t>
            </a:r>
          </a:p>
          <a:p>
            <a:pPr lvl="2">
              <a:spcBef>
                <a:spcPts val="400"/>
              </a:spcBef>
              <a:spcAft>
                <a:spcPts val="0"/>
              </a:spcAft>
              <a:defRPr/>
            </a:pPr>
            <a:r>
              <a:rPr lang="en-US" dirty="0"/>
              <a:t>Pay attention to comparability of the definition to competitors or market studies (e.g. Opex vs. Capex)!</a:t>
            </a:r>
          </a:p>
          <a:p>
            <a:pPr>
              <a:spcBef>
                <a:spcPts val="400"/>
              </a:spcBef>
              <a:defRPr/>
            </a:pPr>
            <a:r>
              <a:rPr lang="en-US" sz="900" dirty="0" smtClean="0"/>
              <a:t>Methodology</a:t>
            </a:r>
            <a:endParaRPr lang="en-US" sz="900" dirty="0"/>
          </a:p>
          <a:p>
            <a:pPr lvl="2">
              <a:spcBef>
                <a:spcPts val="400"/>
              </a:spcBef>
              <a:spcAft>
                <a:spcPts val="0"/>
              </a:spcAft>
              <a:defRPr/>
            </a:pPr>
            <a:r>
              <a:rPr lang="en-US" dirty="0"/>
              <a:t>Discussions with the persons responsible for planning</a:t>
            </a:r>
          </a:p>
          <a:p>
            <a:pPr lvl="2">
              <a:spcBef>
                <a:spcPts val="400"/>
              </a:spcBef>
              <a:spcAft>
                <a:spcPts val="0"/>
              </a:spcAft>
              <a:defRPr/>
            </a:pPr>
            <a:r>
              <a:rPr lang="en-US" dirty="0"/>
              <a:t>Transparent and consistent linking of the results of the competitive analysis from the past analysis and with planning analysis (generally also joint presentation)</a:t>
            </a:r>
          </a:p>
          <a:p>
            <a:pPr lvl="2">
              <a:spcBef>
                <a:spcPts val="400"/>
              </a:spcBef>
              <a:spcAft>
                <a:spcPts val="0"/>
              </a:spcAft>
              <a:defRPr/>
            </a:pPr>
            <a:r>
              <a:rPr lang="en-US" dirty="0"/>
              <a:t>Analysis and/or presentation at selected levels (e.g. group, legal entity, segment, profit </a:t>
            </a:r>
            <a:r>
              <a:rPr lang="en-US" dirty="0" smtClean="0"/>
              <a:t>center, </a:t>
            </a:r>
            <a:r>
              <a:rPr lang="en-US" dirty="0"/>
              <a:t>product group, region, etc.) in accordance with the necessity, appropriateness and data situation in the specific case </a:t>
            </a:r>
          </a:p>
          <a:p>
            <a:pPr lvl="2">
              <a:spcBef>
                <a:spcPts val="400"/>
              </a:spcBef>
              <a:spcAft>
                <a:spcPts val="0"/>
              </a:spcAft>
              <a:defRPr/>
            </a:pPr>
            <a:r>
              <a:rPr lang="en-US" dirty="0"/>
              <a:t>Concentration on expenses with effect on payment (cash flow), in cases of non-cash expenses assure consistency with balance sheet</a:t>
            </a:r>
          </a:p>
          <a:p>
            <a:pPr lvl="2">
              <a:spcBef>
                <a:spcPts val="400"/>
              </a:spcBef>
              <a:spcAft>
                <a:spcPts val="0"/>
              </a:spcAft>
              <a:defRPr/>
            </a:pPr>
            <a:r>
              <a:rPr lang="en-US" dirty="0"/>
              <a:t>Concentration on expenses with significant effect on the development of the margin</a:t>
            </a:r>
          </a:p>
          <a:p>
            <a:pPr marL="0" lvl="2" indent="0">
              <a:spcBef>
                <a:spcPts val="400"/>
              </a:spcBef>
              <a:spcAft>
                <a:spcPts val="0"/>
              </a:spcAft>
              <a:buNone/>
              <a:defRPr/>
            </a:pPr>
            <a:r>
              <a:rPr lang="en-US" b="1" dirty="0" smtClean="0">
                <a:solidFill>
                  <a:schemeClr val="tx2"/>
                </a:solidFill>
              </a:rPr>
              <a:t>Tools</a:t>
            </a:r>
            <a:endParaRPr lang="en-US" b="1" dirty="0">
              <a:solidFill>
                <a:schemeClr val="tx2"/>
              </a:solidFill>
            </a:endParaRPr>
          </a:p>
          <a:p>
            <a:pPr lvl="2">
              <a:spcBef>
                <a:spcPts val="400"/>
              </a:spcBef>
              <a:spcAft>
                <a:spcPts val="0"/>
              </a:spcAft>
              <a:defRPr/>
            </a:pPr>
            <a:r>
              <a:rPr lang="en-US" dirty="0"/>
              <a:t>Analysis Toolbox </a:t>
            </a:r>
            <a:r>
              <a:rPr lang="en-US" dirty="0" smtClean="0"/>
              <a:t/>
            </a:r>
            <a:br>
              <a:rPr lang="en-US" dirty="0" smtClean="0"/>
            </a:br>
            <a:endParaRPr lang="en-US" i="1" dirty="0" smtClean="0"/>
          </a:p>
        </p:txBody>
      </p:sp>
      <p:sp>
        <p:nvSpPr>
          <p:cNvPr id="46" name="Text Placeholder 12"/>
          <p:cNvSpPr txBox="1">
            <a:spLocks/>
          </p:cNvSpPr>
          <p:nvPr>
            <p:custDataLst>
              <p:tags r:id="rId2"/>
            </p:custDataLst>
          </p:nvPr>
        </p:nvSpPr>
        <p:spPr>
          <a:xfrm>
            <a:off x="2484035" y="2613591"/>
            <a:ext cx="2577955" cy="22799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EBIT and EBIT margin over time</a:t>
            </a:r>
            <a:endParaRPr lang="en-US" sz="900" kern="0" dirty="0">
              <a:latin typeface="Arial" panose="020B0604020202020204" pitchFamily="34" charset="0"/>
              <a:cs typeface="Arial" panose="020B0604020202020204" pitchFamily="34" charset="0"/>
            </a:endParaRPr>
          </a:p>
        </p:txBody>
      </p:sp>
      <p:sp>
        <p:nvSpPr>
          <p:cNvPr id="47" name="Text Placeholder 12"/>
          <p:cNvSpPr txBox="1">
            <a:spLocks/>
          </p:cNvSpPr>
          <p:nvPr>
            <p:custDataLst>
              <p:tags r:id="rId3"/>
            </p:custDataLst>
          </p:nvPr>
        </p:nvSpPr>
        <p:spPr>
          <a:xfrm>
            <a:off x="2493817" y="4239419"/>
            <a:ext cx="2577955" cy="22799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Change in EBIT in the planning period</a:t>
            </a:r>
            <a:endParaRPr lang="en-US" sz="900" kern="0" dirty="0">
              <a:latin typeface="Arial" panose="020B0604020202020204" pitchFamily="34" charset="0"/>
              <a:cs typeface="Arial" panose="020B0604020202020204" pitchFamily="34" charset="0"/>
            </a:endParaRPr>
          </a:p>
        </p:txBody>
      </p:sp>
      <p:sp>
        <p:nvSpPr>
          <p:cNvPr id="82" name="Rectangle 25"/>
          <p:cNvSpPr/>
          <p:nvPr/>
        </p:nvSpPr>
        <p:spPr>
          <a:xfrm>
            <a:off x="2493817" y="2151849"/>
            <a:ext cx="3552046" cy="438951"/>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r>
              <a:rPr lang="en-US" sz="900" dirty="0" smtClean="0">
                <a:solidFill>
                  <a:schemeClr val="bg1"/>
                </a:solidFill>
                <a:latin typeface="Arial" pitchFamily="34" charset="0"/>
                <a:cs typeface="Arial" pitchFamily="34" charset="0"/>
              </a:rPr>
              <a:t>TCM: The earnings attained are compared to the total expenses for the periods. Differences between production and sales are recorded in the change in inventory.</a:t>
            </a:r>
            <a:endParaRPr lang="en-US" sz="900" dirty="0">
              <a:solidFill>
                <a:schemeClr val="bg1"/>
              </a:solidFill>
              <a:latin typeface="Arial" pitchFamily="34" charset="0"/>
              <a:cs typeface="Arial" pitchFamily="34" charset="0"/>
            </a:endParaRPr>
          </a:p>
        </p:txBody>
      </p:sp>
      <p:pic>
        <p:nvPicPr>
          <p:cNvPr id="22" name="Grafik 21"/>
          <p:cNvPicPr>
            <a:picLocks noChangeAspect="1"/>
          </p:cNvPicPr>
          <p:nvPr>
            <p:custDataLst>
              <p:tags r:id="rId4"/>
            </p:custDataLst>
          </p:nvPr>
        </p:nvPicPr>
        <p:blipFill rotWithShape="1">
          <a:blip r:embed="rId11"/>
          <a:srcRect l="1617" t="24140" b="17283"/>
          <a:stretch/>
        </p:blipFill>
        <p:spPr>
          <a:xfrm>
            <a:off x="2438400" y="2752724"/>
            <a:ext cx="3762956" cy="1438275"/>
          </a:xfrm>
          <a:prstGeom prst="rect">
            <a:avLst/>
          </a:prstGeom>
        </p:spPr>
      </p:pic>
      <p:pic>
        <p:nvPicPr>
          <p:cNvPr id="23" name="Grafik 22"/>
          <p:cNvPicPr>
            <a:picLocks noChangeAspect="1"/>
          </p:cNvPicPr>
          <p:nvPr>
            <p:custDataLst>
              <p:tags r:id="rId5"/>
            </p:custDataLst>
          </p:nvPr>
        </p:nvPicPr>
        <p:blipFill rotWithShape="1">
          <a:blip r:embed="rId12"/>
          <a:srcRect l="2559" t="24116" r="1" b="15517"/>
          <a:stretch/>
        </p:blipFill>
        <p:spPr>
          <a:xfrm>
            <a:off x="2409825" y="4381500"/>
            <a:ext cx="3597210" cy="1685925"/>
          </a:xfrm>
          <a:prstGeom prst="rect">
            <a:avLst/>
          </a:prstGeom>
        </p:spPr>
      </p:pic>
      <p:sp>
        <p:nvSpPr>
          <p:cNvPr id="24" name="Rectangle 4"/>
          <p:cNvSpPr>
            <a:spLocks noChangeArrowheads="1"/>
          </p:cNvSpPr>
          <p:nvPr>
            <p:custDataLst>
              <p:tags r:id="rId6"/>
            </p:custDataLst>
          </p:nvPr>
        </p:nvSpPr>
        <p:spPr bwMode="auto">
          <a:xfrm>
            <a:off x="6889531" y="203863"/>
            <a:ext cx="2527519" cy="1116725"/>
          </a:xfrm>
          <a:prstGeom prst="rect">
            <a:avLst/>
          </a:prstGeom>
          <a:solidFill>
            <a:srgbClr val="6D2077"/>
          </a:solidFill>
          <a:ln w="12700">
            <a:solidFill>
              <a:srgbClr val="6D2077"/>
            </a:solid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900" dirty="0" smtClean="0">
                <a:solidFill>
                  <a:schemeClr val="bg1"/>
                </a:solidFill>
              </a:rPr>
              <a:t>Flag: Total Cost Method (TCM) is a commonly used approach in the DACH region. However, other GAAPs may only accept the CoS approach. Please check your local requirements before applying TCM in your analysis.</a:t>
            </a:r>
          </a:p>
          <a:p>
            <a:pPr algn="ctr" defTabSz="762000" eaLnBrk="0" hangingPunct="0">
              <a:lnSpc>
                <a:spcPct val="90000"/>
              </a:lnSpc>
              <a:spcBef>
                <a:spcPts val="600"/>
              </a:spcBef>
            </a:pPr>
            <a:r>
              <a:rPr lang="en-US" sz="900" dirty="0" smtClean="0">
                <a:solidFill>
                  <a:schemeClr val="bg1"/>
                </a:solidFill>
              </a:rPr>
              <a:t>Tools </a:t>
            </a:r>
            <a:r>
              <a:rPr lang="en-US" sz="900" dirty="0">
                <a:solidFill>
                  <a:schemeClr val="bg1"/>
                </a:solidFill>
              </a:rPr>
              <a:t>listed are commonly used in Germany and may differ in other regions</a:t>
            </a:r>
            <a:r>
              <a:rPr lang="en-US" sz="900" dirty="0" smtClean="0">
                <a:solidFill>
                  <a:schemeClr val="bg1"/>
                </a:solidFill>
              </a:rPr>
              <a:t>.</a:t>
            </a:r>
            <a:endParaRPr lang="en-US" sz="900" dirty="0">
              <a:solidFill>
                <a:schemeClr val="bg1"/>
              </a:solidFill>
            </a:endParaRPr>
          </a:p>
        </p:txBody>
      </p:sp>
      <p:pic>
        <p:nvPicPr>
          <p:cNvPr id="3" name="Grafik 2"/>
          <p:cNvPicPr>
            <a:picLocks noChangeAspect="1"/>
          </p:cNvPicPr>
          <p:nvPr>
            <p:custDataLst>
              <p:tags r:id="rId7"/>
            </p:custDataLst>
          </p:nvPr>
        </p:nvPicPr>
        <p:blipFill>
          <a:blip r:embed="rId13"/>
          <a:stretch>
            <a:fillRect/>
          </a:stretch>
        </p:blipFill>
        <p:spPr>
          <a:xfrm>
            <a:off x="-2793400" y="2263694"/>
            <a:ext cx="1999661" cy="2225233"/>
          </a:xfrm>
          <a:prstGeom prst="rect">
            <a:avLst/>
          </a:prstGeom>
        </p:spPr>
      </p:pic>
      <p:pic>
        <p:nvPicPr>
          <p:cNvPr id="10" name="Grafik 9"/>
          <p:cNvPicPr>
            <a:picLocks noChangeAspect="1"/>
          </p:cNvPicPr>
          <p:nvPr>
            <p:custDataLst>
              <p:tags r:id="rId8"/>
            </p:custDataLst>
          </p:nvPr>
        </p:nvPicPr>
        <p:blipFill>
          <a:blip r:embed="rId14"/>
          <a:stretch>
            <a:fillRect/>
          </a:stretch>
        </p:blipFill>
        <p:spPr>
          <a:xfrm>
            <a:off x="-2793400" y="4514945"/>
            <a:ext cx="1999661" cy="2219136"/>
          </a:xfrm>
          <a:prstGeom prst="rect">
            <a:avLst/>
          </a:prstGeom>
        </p:spPr>
      </p:pic>
      <p:graphicFrame>
        <p:nvGraphicFramePr>
          <p:cNvPr id="25" name="Objekt 24"/>
          <p:cNvGraphicFramePr>
            <a:graphicFrameLocks noChangeAspect="1"/>
          </p:cNvGraphicFramePr>
          <p:nvPr>
            <p:extLst>
              <p:ext uri="{D42A27DB-BD31-4B8C-83A1-F6EECF244321}">
                <p14:modId xmlns:p14="http://schemas.microsoft.com/office/powerpoint/2010/main" val="2428888404"/>
              </p:ext>
            </p:extLst>
          </p:nvPr>
        </p:nvGraphicFramePr>
        <p:xfrm>
          <a:off x="-1793570" y="1566862"/>
          <a:ext cx="914400" cy="771525"/>
        </p:xfrm>
        <a:graphic>
          <a:graphicData uri="http://schemas.openxmlformats.org/presentationml/2006/ole">
            <mc:AlternateContent xmlns:mc="http://schemas.openxmlformats.org/markup-compatibility/2006">
              <mc:Choice xmlns:v="urn:schemas-microsoft-com:vml" Requires="v">
                <p:oleObj spid="_x0000_s15429" name="Arbeitsblatt" showAsIcon="1" r:id="rId15" imgW="914400" imgH="771480" progId="Excel.Sheet.12">
                  <p:embed/>
                </p:oleObj>
              </mc:Choice>
              <mc:Fallback>
                <p:oleObj name="Arbeitsblatt" showAsIcon="1" r:id="rId15" imgW="914400" imgH="771480" progId="Excel.Sheet.12">
                  <p:embed/>
                  <p:pic>
                    <p:nvPicPr>
                      <p:cNvPr id="0" name=""/>
                      <p:cNvPicPr/>
                      <p:nvPr/>
                    </p:nvPicPr>
                    <p:blipFill>
                      <a:blip r:embed="rId16"/>
                      <a:stretch>
                        <a:fillRect/>
                      </a:stretch>
                    </p:blipFill>
                    <p:spPr>
                      <a:xfrm>
                        <a:off x="-1793570" y="1566862"/>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8668416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Expenditures from Gross Profit to EBIT Total Cost Method (Planning) </a:t>
            </a:r>
          </a:p>
        </p:txBody>
      </p:sp>
      <p:sp>
        <p:nvSpPr>
          <p:cNvPr id="4" name="Titel 3"/>
          <p:cNvSpPr>
            <a:spLocks noGrp="1"/>
          </p:cNvSpPr>
          <p:nvPr>
            <p:ph type="title"/>
          </p:nvPr>
        </p:nvSpPr>
        <p:spPr/>
        <p:txBody>
          <a:bodyPr/>
          <a:lstStyle/>
          <a:p>
            <a:r>
              <a:rPr lang="en-US" dirty="0"/>
              <a:t>Overview (</a:t>
            </a:r>
            <a:r>
              <a:rPr lang="en-US" dirty="0" smtClean="0"/>
              <a:t>2/6) </a:t>
            </a:r>
            <a:r>
              <a:rPr lang="en-US" dirty="0"/>
              <a:t>– Structure of the P&amp;L analysis </a:t>
            </a:r>
            <a:r>
              <a:rPr lang="en-US" dirty="0" smtClean="0"/>
              <a:t>and corresponding workbooks</a:t>
            </a:r>
            <a:endParaRPr lang="en-US" dirty="0"/>
          </a:p>
        </p:txBody>
      </p:sp>
      <p:sp>
        <p:nvSpPr>
          <p:cNvPr id="23" name="Rechteck 77"/>
          <p:cNvSpPr/>
          <p:nvPr/>
        </p:nvSpPr>
        <p:spPr>
          <a:xfrm>
            <a:off x="2093611" y="3823857"/>
            <a:ext cx="5689953" cy="1523089"/>
          </a:xfrm>
          <a:prstGeom prst="rect">
            <a:avLst/>
          </a:prstGeom>
          <a:solidFill>
            <a:srgbClr val="D9D9D9"/>
          </a:solidFill>
          <a:ln>
            <a:noFill/>
          </a:ln>
        </p:spPr>
        <p:style>
          <a:lnRef idx="2">
            <a:schemeClr val="accent4"/>
          </a:lnRef>
          <a:fillRef idx="1">
            <a:schemeClr val="lt1"/>
          </a:fillRef>
          <a:effectRef idx="0">
            <a:schemeClr val="accent4"/>
          </a:effectRef>
          <a:fontRef idx="minor">
            <a:schemeClr val="dk1"/>
          </a:fontRef>
        </p:style>
        <p:txBody>
          <a:bodyPr lIns="54000" tIns="54000" rIns="54000" bIns="54000" rtlCol="0" anchor="t"/>
          <a:lstStyle/>
          <a:p>
            <a:pPr>
              <a:spcBef>
                <a:spcPts val="600"/>
              </a:spcBef>
              <a:buClr>
                <a:srgbClr val="97989A"/>
              </a:buClr>
              <a:buSzPct val="100000"/>
              <a:defRPr/>
            </a:pPr>
            <a:r>
              <a:rPr lang="en-US" sz="900" b="1" dirty="0">
                <a:solidFill>
                  <a:srgbClr val="00338D"/>
                </a:solidFill>
                <a:latin typeface="Arial" pitchFamily="34" charset="0"/>
                <a:cs typeface="Arial" pitchFamily="34" charset="0"/>
              </a:rPr>
              <a:t>Workbook "Expenditures from </a:t>
            </a:r>
            <a:br>
              <a:rPr lang="en-US" sz="900" b="1" dirty="0">
                <a:solidFill>
                  <a:srgbClr val="00338D"/>
                </a:solidFill>
                <a:latin typeface="Arial" pitchFamily="34" charset="0"/>
                <a:cs typeface="Arial" pitchFamily="34" charset="0"/>
              </a:rPr>
            </a:br>
            <a:r>
              <a:rPr lang="en-US" sz="900" b="1" dirty="0">
                <a:solidFill>
                  <a:srgbClr val="00338D"/>
                </a:solidFill>
                <a:latin typeface="Arial" pitchFamily="34" charset="0"/>
                <a:cs typeface="Arial" pitchFamily="34" charset="0"/>
              </a:rPr>
              <a:t>Gross Profit to EBIT"</a:t>
            </a:r>
            <a:endParaRPr lang="en-US" sz="900" dirty="0" smtClean="0">
              <a:solidFill>
                <a:srgbClr val="00338D"/>
              </a:solidFill>
              <a:latin typeface="Arial" pitchFamily="34" charset="0"/>
              <a:cs typeface="Arial" pitchFamily="34" charset="0"/>
            </a:endParaRPr>
          </a:p>
        </p:txBody>
      </p:sp>
      <p:sp>
        <p:nvSpPr>
          <p:cNvPr id="24" name="Rechteck 77"/>
          <p:cNvSpPr/>
          <p:nvPr/>
        </p:nvSpPr>
        <p:spPr>
          <a:xfrm>
            <a:off x="2093611" y="5415637"/>
            <a:ext cx="5689953" cy="603514"/>
          </a:xfrm>
          <a:prstGeom prst="rect">
            <a:avLst/>
          </a:prstGeom>
          <a:solidFill>
            <a:srgbClr val="D9D9D9"/>
          </a:solidFill>
          <a:ln>
            <a:noFill/>
          </a:ln>
        </p:spPr>
        <p:style>
          <a:lnRef idx="2">
            <a:schemeClr val="accent4"/>
          </a:lnRef>
          <a:fillRef idx="1">
            <a:schemeClr val="lt1"/>
          </a:fillRef>
          <a:effectRef idx="0">
            <a:schemeClr val="accent4"/>
          </a:effectRef>
          <a:fontRef idx="minor">
            <a:schemeClr val="dk1"/>
          </a:fontRef>
        </p:style>
        <p:txBody>
          <a:bodyPr lIns="36000" tIns="54000" rIns="36000" bIns="54000" rtlCol="0" anchor="t"/>
          <a:lstStyle/>
          <a:p>
            <a:pPr lvl="0">
              <a:spcBef>
                <a:spcPts val="600"/>
              </a:spcBef>
              <a:buClr>
                <a:srgbClr val="97989A"/>
              </a:buClr>
              <a:buSzPct val="100000"/>
              <a:defRPr/>
            </a:pPr>
            <a:r>
              <a:rPr lang="en-US" sz="900" b="1" dirty="0" smtClean="0">
                <a:solidFill>
                  <a:srgbClr val="00338D"/>
                </a:solidFill>
                <a:latin typeface="Arial" pitchFamily="34" charset="0"/>
                <a:cs typeface="Arial" pitchFamily="34" charset="0"/>
              </a:rPr>
              <a:t>Workbook "Investments“ </a:t>
            </a:r>
            <a:endParaRPr lang="en-US" sz="900" dirty="0">
              <a:solidFill>
                <a:srgbClr val="00338D"/>
              </a:solidFill>
              <a:latin typeface="Arial" pitchFamily="34" charset="0"/>
              <a:cs typeface="Arial" pitchFamily="34" charset="0"/>
            </a:endParaRPr>
          </a:p>
        </p:txBody>
      </p:sp>
      <p:sp>
        <p:nvSpPr>
          <p:cNvPr id="26" name="Rechteck 37"/>
          <p:cNvSpPr/>
          <p:nvPr/>
        </p:nvSpPr>
        <p:spPr>
          <a:xfrm>
            <a:off x="7832725" y="1782618"/>
            <a:ext cx="1596606" cy="1950147"/>
          </a:xfrm>
          <a:prstGeom prst="rect">
            <a:avLst/>
          </a:prstGeom>
          <a:solidFill>
            <a:srgbClr val="D9D9D9"/>
          </a:solidFill>
          <a:ln>
            <a:noFill/>
          </a:ln>
        </p:spPr>
        <p:style>
          <a:lnRef idx="2">
            <a:schemeClr val="accent4"/>
          </a:lnRef>
          <a:fillRef idx="1">
            <a:schemeClr val="lt1"/>
          </a:fillRef>
          <a:effectRef idx="0">
            <a:schemeClr val="accent4"/>
          </a:effectRef>
          <a:fontRef idx="minor">
            <a:schemeClr val="dk1"/>
          </a:fontRef>
        </p:style>
        <p:txBody>
          <a:bodyPr lIns="54000" tIns="54000" rIns="54000" bIns="54000" rtlCol="0" anchor="t"/>
          <a:lstStyle/>
          <a:p>
            <a:pPr marL="0" lvl="2">
              <a:spcAft>
                <a:spcPts val="200"/>
              </a:spcAft>
              <a:buClr>
                <a:schemeClr val="tx2"/>
              </a:buClr>
              <a:buSzPct val="100000"/>
              <a:defRPr/>
            </a:pPr>
            <a:r>
              <a:rPr lang="en-US" sz="800" dirty="0" smtClean="0">
                <a:solidFill>
                  <a:schemeClr val="tx1"/>
                </a:solidFill>
              </a:rPr>
              <a:t>The detailed analyses should</a:t>
            </a:r>
          </a:p>
          <a:p>
            <a:pPr marL="216000" lvl="2" indent="-216000">
              <a:buClr>
                <a:schemeClr val="tx2"/>
              </a:buClr>
              <a:buSzPct val="100000"/>
              <a:buFont typeface="Arial" panose="020B0604020202020204" pitchFamily="34" charset="0"/>
              <a:buChar char="—"/>
              <a:defRPr/>
            </a:pPr>
            <a:r>
              <a:rPr lang="en-US" sz="800" dirty="0" smtClean="0">
                <a:solidFill>
                  <a:schemeClr val="tx1"/>
                </a:solidFill>
              </a:rPr>
              <a:t>Improve the comprehension of the business model and the main drivers in the planning</a:t>
            </a:r>
          </a:p>
          <a:p>
            <a:pPr marL="216000" lvl="2" indent="-216000">
              <a:buClr>
                <a:schemeClr val="tx2"/>
              </a:buClr>
              <a:buSzPct val="100000"/>
              <a:buFont typeface="Arial" panose="020B0604020202020204" pitchFamily="34" charset="0"/>
              <a:buChar char="—"/>
              <a:defRPr/>
            </a:pPr>
            <a:r>
              <a:rPr lang="en-US" sz="800" dirty="0" smtClean="0">
                <a:solidFill>
                  <a:schemeClr val="tx1"/>
                </a:solidFill>
              </a:rPr>
              <a:t>Show the trend of the economic development (monthly or quarterly as necessary)</a:t>
            </a:r>
          </a:p>
          <a:p>
            <a:pPr marL="216000" lvl="2" indent="-216000">
              <a:buClr>
                <a:schemeClr val="tx2"/>
              </a:buClr>
              <a:buSzPct val="100000"/>
              <a:buFont typeface="Arial" panose="020B0604020202020204" pitchFamily="34" charset="0"/>
              <a:buChar char="—"/>
              <a:defRPr/>
            </a:pPr>
            <a:r>
              <a:rPr lang="en-US" sz="800" dirty="0" smtClean="0">
                <a:solidFill>
                  <a:schemeClr val="tx1"/>
                </a:solidFill>
              </a:rPr>
              <a:t>Allow a meaningful benchmarking by means of suitable categorization of sales</a:t>
            </a:r>
            <a:endParaRPr lang="en-US" sz="800" dirty="0">
              <a:solidFill>
                <a:schemeClr val="tx1"/>
              </a:solidFill>
            </a:endParaRPr>
          </a:p>
        </p:txBody>
      </p:sp>
      <p:sp>
        <p:nvSpPr>
          <p:cNvPr id="28" name="Rechteck 22"/>
          <p:cNvSpPr/>
          <p:nvPr/>
        </p:nvSpPr>
        <p:spPr>
          <a:xfrm>
            <a:off x="500639" y="1782618"/>
            <a:ext cx="1532162" cy="4238770"/>
          </a:xfrm>
          <a:prstGeom prst="rect">
            <a:avLst/>
          </a:prstGeom>
          <a:solidFill>
            <a:srgbClr val="D9D9D9"/>
          </a:solidFill>
          <a:ln>
            <a:noFill/>
          </a:ln>
        </p:spPr>
        <p:style>
          <a:lnRef idx="2">
            <a:schemeClr val="accent4"/>
          </a:lnRef>
          <a:fillRef idx="1">
            <a:schemeClr val="lt1"/>
          </a:fillRef>
          <a:effectRef idx="0">
            <a:schemeClr val="accent4"/>
          </a:effectRef>
          <a:fontRef idx="minor">
            <a:schemeClr val="dk1"/>
          </a:fontRef>
        </p:style>
        <p:txBody>
          <a:bodyPr lIns="54000" tIns="54000" rIns="54000" bIns="54000" rtlCol="0" anchor="t" anchorCtr="0"/>
          <a:lstStyle/>
          <a:p>
            <a:pPr marL="85725">
              <a:spcBef>
                <a:spcPts val="600"/>
              </a:spcBef>
              <a:buClr>
                <a:srgbClr val="97989A"/>
              </a:buClr>
              <a:buSzPct val="100000"/>
              <a:defRPr/>
            </a:pPr>
            <a:r>
              <a:rPr lang="en-US" sz="800" dirty="0" smtClean="0">
                <a:solidFill>
                  <a:srgbClr val="000000"/>
                </a:solidFill>
              </a:rPr>
              <a:t>Explanation of the major trends (sales growth, profitability in % of sales, significant leaps in individual P&amp;L lines), if necessary supplemented by individual operative KPIs and/or benchmarks; very dependent on business model and sector of the specific company</a:t>
            </a:r>
          </a:p>
          <a:p>
            <a:pPr marL="85725">
              <a:spcBef>
                <a:spcPts val="600"/>
              </a:spcBef>
              <a:buClr>
                <a:srgbClr val="97989A"/>
              </a:buClr>
              <a:buSzPct val="100000"/>
              <a:defRPr/>
            </a:pPr>
            <a:endParaRPr lang="en-US" sz="800" dirty="0" smtClean="0">
              <a:solidFill>
                <a:srgbClr val="000000"/>
              </a:solidFill>
            </a:endParaRPr>
          </a:p>
          <a:p>
            <a:pPr marL="85725">
              <a:spcBef>
                <a:spcPts val="600"/>
              </a:spcBef>
              <a:buClr>
                <a:srgbClr val="97989A"/>
              </a:buClr>
              <a:buSzPct val="100000"/>
              <a:defRPr/>
            </a:pPr>
            <a:endParaRPr lang="en-US" sz="800" dirty="0" smtClean="0">
              <a:solidFill>
                <a:srgbClr val="000000"/>
              </a:solidFill>
            </a:endParaRPr>
          </a:p>
          <a:p>
            <a:pPr marL="85725">
              <a:spcBef>
                <a:spcPts val="600"/>
              </a:spcBef>
              <a:buClr>
                <a:srgbClr val="97989A"/>
              </a:buClr>
              <a:buSzPct val="100000"/>
              <a:defRPr/>
            </a:pPr>
            <a:endParaRPr lang="en-US" sz="800" dirty="0" smtClean="0">
              <a:solidFill>
                <a:srgbClr val="000000"/>
              </a:solidFill>
            </a:endParaRPr>
          </a:p>
          <a:p>
            <a:pPr marL="85725">
              <a:spcBef>
                <a:spcPts val="600"/>
              </a:spcBef>
              <a:buClr>
                <a:srgbClr val="97989A"/>
              </a:buClr>
              <a:buSzPct val="100000"/>
              <a:defRPr/>
            </a:pPr>
            <a:endParaRPr lang="en-US" sz="800" dirty="0" smtClean="0">
              <a:solidFill>
                <a:srgbClr val="000000"/>
              </a:solidFill>
            </a:endParaRPr>
          </a:p>
          <a:p>
            <a:pPr marL="85725">
              <a:spcBef>
                <a:spcPts val="600"/>
              </a:spcBef>
              <a:buClr>
                <a:srgbClr val="97989A"/>
              </a:buClr>
              <a:buSzPct val="100000"/>
              <a:defRPr/>
            </a:pPr>
            <a:endParaRPr lang="en-US" sz="800" dirty="0" smtClean="0">
              <a:solidFill>
                <a:srgbClr val="000000"/>
              </a:solidFill>
            </a:endParaRPr>
          </a:p>
          <a:p>
            <a:pPr marL="85725">
              <a:spcBef>
                <a:spcPts val="600"/>
              </a:spcBef>
              <a:buClr>
                <a:srgbClr val="97989A"/>
              </a:buClr>
              <a:buSzPct val="100000"/>
              <a:defRPr/>
            </a:pPr>
            <a:endParaRPr lang="en-US" sz="800" dirty="0" smtClean="0">
              <a:solidFill>
                <a:srgbClr val="000000"/>
              </a:solidFill>
            </a:endParaRPr>
          </a:p>
          <a:p>
            <a:pPr marL="85725">
              <a:spcBef>
                <a:spcPts val="600"/>
              </a:spcBef>
              <a:buClr>
                <a:srgbClr val="97989A"/>
              </a:buClr>
              <a:buSzPct val="100000"/>
              <a:defRPr/>
            </a:pPr>
            <a:endParaRPr lang="en-US" sz="800" dirty="0" smtClean="0">
              <a:solidFill>
                <a:srgbClr val="000000"/>
              </a:solidFill>
            </a:endParaRPr>
          </a:p>
          <a:p>
            <a:pPr marL="85725">
              <a:spcBef>
                <a:spcPts val="600"/>
              </a:spcBef>
              <a:buClr>
                <a:srgbClr val="97989A"/>
              </a:buClr>
              <a:buSzPct val="100000"/>
              <a:defRPr/>
            </a:pPr>
            <a:r>
              <a:rPr lang="en-US" sz="800" dirty="0" smtClean="0">
                <a:solidFill>
                  <a:srgbClr val="000000"/>
                </a:solidFill>
              </a:rPr>
              <a:t>Purpose:</a:t>
            </a:r>
          </a:p>
          <a:p>
            <a:pPr marL="228600" indent="-142875">
              <a:spcBef>
                <a:spcPts val="300"/>
              </a:spcBef>
              <a:buClr>
                <a:schemeClr val="tx1"/>
              </a:buClr>
              <a:buSzPct val="100000"/>
              <a:buAutoNum type="alphaLcParenR"/>
              <a:defRPr/>
            </a:pPr>
            <a:r>
              <a:rPr lang="en-US" sz="800" dirty="0" smtClean="0">
                <a:solidFill>
                  <a:srgbClr val="000000"/>
                </a:solidFill>
              </a:rPr>
              <a:t>Planning of our analyses and determination of focus</a:t>
            </a:r>
          </a:p>
          <a:p>
            <a:pPr marL="228600" indent="-142875">
              <a:spcBef>
                <a:spcPts val="300"/>
              </a:spcBef>
              <a:buClr>
                <a:schemeClr val="tx1"/>
              </a:buClr>
              <a:buSzPct val="100000"/>
              <a:buAutoNum type="alphaLcParenR"/>
              <a:defRPr/>
            </a:pPr>
            <a:r>
              <a:rPr lang="en-US" sz="800" dirty="0" smtClean="0">
                <a:solidFill>
                  <a:srgbClr val="000000"/>
                </a:solidFill>
              </a:rPr>
              <a:t>For reporting purposes:</a:t>
            </a:r>
            <a:br>
              <a:rPr lang="en-US" sz="800" dirty="0" smtClean="0">
                <a:solidFill>
                  <a:srgbClr val="000000"/>
                </a:solidFill>
              </a:rPr>
            </a:br>
            <a:r>
              <a:rPr lang="en-US" sz="800" dirty="0" smtClean="0">
                <a:solidFill>
                  <a:srgbClr val="000000"/>
                </a:solidFill>
              </a:rPr>
              <a:t>Summary (Big Picture/Exec Summary) of the results of the analysis</a:t>
            </a:r>
          </a:p>
          <a:p>
            <a:pPr marL="228600" indent="-142875">
              <a:spcBef>
                <a:spcPts val="300"/>
              </a:spcBef>
              <a:buClr>
                <a:srgbClr val="97989A"/>
              </a:buClr>
              <a:buSzPct val="100000"/>
              <a:buAutoNum type="alphaLcParenR"/>
              <a:defRPr/>
            </a:pPr>
            <a:endParaRPr lang="en-US" sz="800" dirty="0" smtClean="0">
              <a:solidFill>
                <a:srgbClr val="000000"/>
              </a:solidFill>
            </a:endParaRPr>
          </a:p>
          <a:p>
            <a:pPr marL="85725" indent="-142875">
              <a:spcBef>
                <a:spcPts val="600"/>
              </a:spcBef>
              <a:buClr>
                <a:srgbClr val="97989A"/>
              </a:buClr>
              <a:buSzPct val="100000"/>
              <a:defRPr/>
            </a:pPr>
            <a:endParaRPr lang="en-US" sz="800" dirty="0" smtClean="0">
              <a:solidFill>
                <a:srgbClr val="000000"/>
              </a:solidFill>
            </a:endParaRPr>
          </a:p>
          <a:p>
            <a:pPr marL="85725" indent="-142875">
              <a:spcBef>
                <a:spcPts val="600"/>
              </a:spcBef>
              <a:buClr>
                <a:srgbClr val="97989A"/>
              </a:buClr>
              <a:buSzPct val="100000"/>
              <a:defRPr/>
            </a:pPr>
            <a:endParaRPr lang="en-US" sz="800" dirty="0" smtClean="0">
              <a:solidFill>
                <a:srgbClr val="000000"/>
              </a:solidFill>
            </a:endParaRPr>
          </a:p>
          <a:p>
            <a:pPr marL="85725" indent="-142875">
              <a:spcBef>
                <a:spcPts val="600"/>
              </a:spcBef>
              <a:buClr>
                <a:srgbClr val="97989A"/>
              </a:buClr>
              <a:buSzPct val="100000"/>
              <a:defRPr/>
            </a:pPr>
            <a:endParaRPr lang="en-US" sz="800" dirty="0" smtClean="0">
              <a:solidFill>
                <a:srgbClr val="000000"/>
              </a:solidFill>
            </a:endParaRPr>
          </a:p>
          <a:p>
            <a:pPr marL="85725" indent="-142875">
              <a:spcBef>
                <a:spcPts val="600"/>
              </a:spcBef>
              <a:buClr>
                <a:srgbClr val="97989A"/>
              </a:buClr>
              <a:buSzPct val="100000"/>
              <a:defRPr/>
            </a:pPr>
            <a:endParaRPr lang="en-US" sz="800" dirty="0" smtClean="0">
              <a:solidFill>
                <a:srgbClr val="000000"/>
              </a:solidFill>
            </a:endParaRPr>
          </a:p>
          <a:p>
            <a:pPr marL="85725" indent="-142875">
              <a:spcBef>
                <a:spcPts val="600"/>
              </a:spcBef>
              <a:buClr>
                <a:srgbClr val="97989A"/>
              </a:buClr>
              <a:buSzPct val="100000"/>
              <a:defRPr/>
            </a:pPr>
            <a:endParaRPr lang="en-US" sz="800" dirty="0" smtClean="0">
              <a:solidFill>
                <a:srgbClr val="000000"/>
              </a:solidFill>
            </a:endParaRPr>
          </a:p>
          <a:p>
            <a:pPr marL="85725" indent="-142875">
              <a:spcBef>
                <a:spcPts val="600"/>
              </a:spcBef>
              <a:buClr>
                <a:srgbClr val="97989A"/>
              </a:buClr>
              <a:buSzPct val="100000"/>
              <a:defRPr/>
            </a:pPr>
            <a:endParaRPr lang="en-US" sz="800" dirty="0" smtClean="0">
              <a:solidFill>
                <a:srgbClr val="000000"/>
              </a:solidFill>
            </a:endParaRPr>
          </a:p>
          <a:p>
            <a:pPr marL="85725" indent="-142875">
              <a:spcBef>
                <a:spcPts val="600"/>
              </a:spcBef>
              <a:buClr>
                <a:srgbClr val="97989A"/>
              </a:buClr>
              <a:buSzPct val="100000"/>
              <a:defRPr/>
            </a:pPr>
            <a:endParaRPr lang="en-US" sz="800" dirty="0" smtClean="0">
              <a:solidFill>
                <a:srgbClr val="000000"/>
              </a:solidFill>
            </a:endParaRPr>
          </a:p>
        </p:txBody>
      </p:sp>
      <p:sp>
        <p:nvSpPr>
          <p:cNvPr id="30" name="Rechteck 77"/>
          <p:cNvSpPr/>
          <p:nvPr/>
        </p:nvSpPr>
        <p:spPr>
          <a:xfrm>
            <a:off x="2093611" y="1782618"/>
            <a:ext cx="5689953" cy="1950147"/>
          </a:xfrm>
          <a:prstGeom prst="rect">
            <a:avLst/>
          </a:prstGeom>
          <a:solidFill>
            <a:srgbClr val="D9D9D9"/>
          </a:solidFill>
          <a:ln>
            <a:noFill/>
          </a:ln>
        </p:spPr>
        <p:style>
          <a:lnRef idx="2">
            <a:schemeClr val="accent4"/>
          </a:lnRef>
          <a:fillRef idx="1">
            <a:schemeClr val="lt1"/>
          </a:fillRef>
          <a:effectRef idx="0">
            <a:schemeClr val="accent4"/>
          </a:effectRef>
          <a:fontRef idx="minor">
            <a:schemeClr val="dk1"/>
          </a:fontRef>
        </p:style>
        <p:txBody>
          <a:bodyPr lIns="54000" tIns="54000" rIns="54000" bIns="54000" rtlCol="0" anchor="t"/>
          <a:lstStyle/>
          <a:p>
            <a:pPr lvl="0">
              <a:spcBef>
                <a:spcPts val="600"/>
              </a:spcBef>
              <a:buClr>
                <a:srgbClr val="97989A"/>
              </a:buClr>
              <a:buSzPct val="100000"/>
              <a:defRPr/>
            </a:pPr>
            <a:r>
              <a:rPr lang="en-US" sz="900" b="1" dirty="0" smtClean="0">
                <a:solidFill>
                  <a:srgbClr val="00338D"/>
                </a:solidFill>
                <a:latin typeface="Arial" pitchFamily="34" charset="0"/>
                <a:cs typeface="Arial" pitchFamily="34" charset="0"/>
              </a:rPr>
              <a:t>Workbook ”Sales and Gross Profit"</a:t>
            </a:r>
            <a:endParaRPr lang="en-US" sz="900" dirty="0" smtClean="0">
              <a:solidFill>
                <a:srgbClr val="00338D"/>
              </a:solidFill>
              <a:latin typeface="Arial" pitchFamily="34" charset="0"/>
              <a:cs typeface="Arial" pitchFamily="34" charset="0"/>
            </a:endParaRPr>
          </a:p>
        </p:txBody>
      </p:sp>
      <p:cxnSp>
        <p:nvCxnSpPr>
          <p:cNvPr id="49" name="Straight Arrow Connector 41"/>
          <p:cNvCxnSpPr>
            <a:cxnSpLocks/>
            <a:stCxn id="99" idx="3"/>
            <a:endCxn id="101" idx="3"/>
          </p:cNvCxnSpPr>
          <p:nvPr/>
        </p:nvCxnSpPr>
        <p:spPr>
          <a:xfrm flipH="1" flipV="1">
            <a:off x="5559671" y="2745417"/>
            <a:ext cx="544974" cy="0"/>
          </a:xfrm>
          <a:prstGeom prst="straightConnector1">
            <a:avLst/>
          </a:prstGeom>
          <a:ln w="6350">
            <a:solidFill>
              <a:schemeClr val="accent4"/>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5" name="Straight Arrow Connector 41"/>
          <p:cNvCxnSpPr>
            <a:cxnSpLocks/>
            <a:stCxn id="100" idx="1"/>
            <a:endCxn id="45" idx="3"/>
          </p:cNvCxnSpPr>
          <p:nvPr/>
        </p:nvCxnSpPr>
        <p:spPr>
          <a:xfrm flipH="1" flipV="1">
            <a:off x="5556771" y="3076032"/>
            <a:ext cx="544974" cy="0"/>
          </a:xfrm>
          <a:prstGeom prst="straightConnector1">
            <a:avLst/>
          </a:prstGeom>
          <a:ln w="6350">
            <a:solidFill>
              <a:schemeClr val="accent4"/>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6" name="Rectangle 4"/>
          <p:cNvSpPr>
            <a:spLocks noChangeArrowheads="1"/>
          </p:cNvSpPr>
          <p:nvPr>
            <p:custDataLst>
              <p:tags r:id="rId1"/>
            </p:custDataLst>
          </p:nvPr>
        </p:nvSpPr>
        <p:spPr bwMode="gray">
          <a:xfrm>
            <a:off x="6078633" y="2678501"/>
            <a:ext cx="1286558" cy="480774"/>
          </a:xfrm>
          <a:prstGeom prst="rect">
            <a:avLst/>
          </a:prstGeom>
          <a:solidFill>
            <a:schemeClr val="accent4"/>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smtClean="0">
                <a:solidFill>
                  <a:schemeClr val="bg1"/>
                </a:solidFill>
              </a:rPr>
              <a:t>Differentiated according to product groups, customers, regions</a:t>
            </a:r>
          </a:p>
        </p:txBody>
      </p:sp>
      <p:sp>
        <p:nvSpPr>
          <p:cNvPr id="73" name="Rectangle 4"/>
          <p:cNvSpPr>
            <a:spLocks noChangeArrowheads="1"/>
          </p:cNvSpPr>
          <p:nvPr>
            <p:custDataLst>
              <p:tags r:id="rId2"/>
            </p:custDataLst>
          </p:nvPr>
        </p:nvSpPr>
        <p:spPr bwMode="gray">
          <a:xfrm>
            <a:off x="5514982" y="5484489"/>
            <a:ext cx="2129379" cy="480774"/>
          </a:xfrm>
          <a:prstGeom prst="rect">
            <a:avLst/>
          </a:prstGeom>
          <a:solidFill>
            <a:schemeClr val="accent4"/>
          </a:solidFill>
          <a:ln w="6350">
            <a:noFill/>
            <a:miter lim="800000"/>
            <a:headEnd/>
            <a:tailEnd/>
          </a:ln>
          <a:effectLst/>
        </p:spPr>
        <p:txBody>
          <a:bodyPr lIns="54000" tIns="54000" rIns="54000" bIns="54000" anchor="ctr" anchorCtr="0"/>
          <a:lstStyle/>
          <a:p>
            <a:pPr marL="180000" indent="-180000" defTabSz="762000" eaLnBrk="0" hangingPunct="0">
              <a:lnSpc>
                <a:spcPct val="90000"/>
              </a:lnSpc>
              <a:buClr>
                <a:schemeClr val="bg1"/>
              </a:buClr>
              <a:buSzPct val="100000"/>
              <a:buFont typeface="Univers for KPMG Light" panose="020B0403020202020204" pitchFamily="34" charset="0"/>
              <a:buChar char="—"/>
            </a:pPr>
            <a:r>
              <a:rPr lang="en-US" sz="700" dirty="0">
                <a:solidFill>
                  <a:schemeClr val="bg1"/>
                </a:solidFill>
              </a:rPr>
              <a:t>Trend in relation to CAPEX</a:t>
            </a:r>
          </a:p>
          <a:p>
            <a:pPr marL="180000" indent="-180000" defTabSz="762000" eaLnBrk="0" hangingPunct="0">
              <a:lnSpc>
                <a:spcPct val="90000"/>
              </a:lnSpc>
              <a:buClr>
                <a:schemeClr val="bg1"/>
              </a:buClr>
              <a:buSzPct val="100000"/>
              <a:buFont typeface="Univers for KPMG Light" panose="020B0403020202020204" pitchFamily="34" charset="0"/>
              <a:buChar char="—"/>
            </a:pPr>
            <a:r>
              <a:rPr lang="en-US" sz="700" dirty="0">
                <a:solidFill>
                  <a:schemeClr val="bg1"/>
                </a:solidFill>
              </a:rPr>
              <a:t>Impairments</a:t>
            </a:r>
          </a:p>
          <a:p>
            <a:pPr marL="180000" indent="-180000" defTabSz="762000" eaLnBrk="0" hangingPunct="0">
              <a:lnSpc>
                <a:spcPct val="90000"/>
              </a:lnSpc>
              <a:buClr>
                <a:schemeClr val="bg1"/>
              </a:buClr>
              <a:buSzPct val="100000"/>
              <a:buFont typeface="Univers for KPMG Light" panose="020B0403020202020204" pitchFamily="34" charset="0"/>
              <a:buChar char="—"/>
            </a:pPr>
            <a:r>
              <a:rPr lang="en-US" sz="700" dirty="0">
                <a:solidFill>
                  <a:schemeClr val="bg1"/>
                </a:solidFill>
              </a:rPr>
              <a:t>Useful life and if necessary modifications of the balance sheets</a:t>
            </a:r>
          </a:p>
        </p:txBody>
      </p:sp>
      <p:cxnSp>
        <p:nvCxnSpPr>
          <p:cNvPr id="74" name="Straight Arrow Connector 41"/>
          <p:cNvCxnSpPr>
            <a:stCxn id="73" idx="1"/>
            <a:endCxn id="63" idx="3"/>
          </p:cNvCxnSpPr>
          <p:nvPr/>
        </p:nvCxnSpPr>
        <p:spPr>
          <a:xfrm flipH="1" flipV="1">
            <a:off x="4580967" y="5720141"/>
            <a:ext cx="934015" cy="0"/>
          </a:xfrm>
          <a:prstGeom prst="straightConnector1">
            <a:avLst/>
          </a:prstGeom>
          <a:ln w="6350">
            <a:solidFill>
              <a:schemeClr val="accent4"/>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76" name="Rechteck 37"/>
          <p:cNvSpPr/>
          <p:nvPr/>
        </p:nvSpPr>
        <p:spPr>
          <a:xfrm>
            <a:off x="7832725" y="3823857"/>
            <a:ext cx="1596606" cy="2195295"/>
          </a:xfrm>
          <a:prstGeom prst="rect">
            <a:avLst/>
          </a:prstGeom>
          <a:solidFill>
            <a:srgbClr val="D9D9D9"/>
          </a:solidFill>
          <a:ln>
            <a:noFill/>
          </a:ln>
        </p:spPr>
        <p:style>
          <a:lnRef idx="2">
            <a:schemeClr val="accent4"/>
          </a:lnRef>
          <a:fillRef idx="1">
            <a:schemeClr val="lt1"/>
          </a:fillRef>
          <a:effectRef idx="0">
            <a:schemeClr val="accent4"/>
          </a:effectRef>
          <a:fontRef idx="minor">
            <a:schemeClr val="dk1"/>
          </a:fontRef>
        </p:style>
        <p:txBody>
          <a:bodyPr lIns="54000" tIns="54000" rIns="54000" bIns="54000" rtlCol="0" anchor="t"/>
          <a:lstStyle/>
          <a:p>
            <a:pPr marL="216000" lvl="2" indent="-216000">
              <a:spcBef>
                <a:spcPts val="600"/>
              </a:spcBef>
              <a:spcAft>
                <a:spcPts val="200"/>
              </a:spcAft>
              <a:buClr>
                <a:schemeClr val="tx2"/>
              </a:buClr>
              <a:buSzPct val="100000"/>
              <a:buFont typeface="Arial" panose="020B0604020202020204" pitchFamily="34" charset="0"/>
              <a:buChar char="—"/>
              <a:defRPr/>
            </a:pPr>
            <a:r>
              <a:rPr lang="en-US" sz="800" dirty="0" smtClean="0">
                <a:solidFill>
                  <a:schemeClr val="tx1"/>
                </a:solidFill>
              </a:rPr>
              <a:t>Analysis should make cost structure and drivers transparent</a:t>
            </a:r>
            <a:endParaRPr lang="en-US" sz="800" dirty="0">
              <a:solidFill>
                <a:schemeClr val="tx1"/>
              </a:solidFill>
            </a:endParaRPr>
          </a:p>
        </p:txBody>
      </p:sp>
      <p:cxnSp>
        <p:nvCxnSpPr>
          <p:cNvPr id="95" name="Straight Arrow Connector 41"/>
          <p:cNvCxnSpPr>
            <a:cxnSpLocks/>
          </p:cNvCxnSpPr>
          <p:nvPr/>
        </p:nvCxnSpPr>
        <p:spPr>
          <a:xfrm flipH="1">
            <a:off x="5765070" y="4130749"/>
            <a:ext cx="544974" cy="0"/>
          </a:xfrm>
          <a:prstGeom prst="straightConnector1">
            <a:avLst/>
          </a:prstGeom>
          <a:solidFill>
            <a:srgbClr val="F5DB7E"/>
          </a:solidFill>
          <a:ln w="6350">
            <a:solidFill>
              <a:schemeClr val="accent4"/>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99" name="Rechteck 98"/>
          <p:cNvSpPr/>
          <p:nvPr/>
        </p:nvSpPr>
        <p:spPr>
          <a:xfrm>
            <a:off x="5755673" y="2678447"/>
            <a:ext cx="68690" cy="137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Rechteck 99"/>
          <p:cNvSpPr/>
          <p:nvPr/>
        </p:nvSpPr>
        <p:spPr>
          <a:xfrm>
            <a:off x="5755673" y="3008268"/>
            <a:ext cx="68690" cy="137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12"/>
          <p:cNvSpPr/>
          <p:nvPr/>
        </p:nvSpPr>
        <p:spPr>
          <a:xfrm>
            <a:off x="584127" y="3527872"/>
            <a:ext cx="1358996" cy="489459"/>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bg1"/>
                </a:solidFill>
              </a:rPr>
              <a:t>EBIT</a:t>
            </a:r>
            <a:r>
              <a:rPr lang="en-US" sz="1000" dirty="0" smtClean="0">
                <a:solidFill>
                  <a:schemeClr val="bg1"/>
                </a:solidFill>
              </a:rPr>
              <a:t/>
            </a:r>
            <a:br>
              <a:rPr lang="en-US" sz="1000" dirty="0" smtClean="0">
                <a:solidFill>
                  <a:schemeClr val="bg1"/>
                </a:solidFill>
              </a:rPr>
            </a:br>
            <a:r>
              <a:rPr lang="en-US" sz="800" dirty="0" smtClean="0">
                <a:solidFill>
                  <a:schemeClr val="bg1"/>
                </a:solidFill>
              </a:rPr>
              <a:t>(representing entire P&amp;L)</a:t>
            </a:r>
            <a:endParaRPr lang="en-US" sz="800" dirty="0">
              <a:solidFill>
                <a:schemeClr val="bg1"/>
              </a:solidFill>
            </a:endParaRPr>
          </a:p>
        </p:txBody>
      </p:sp>
      <p:cxnSp>
        <p:nvCxnSpPr>
          <p:cNvPr id="33" name="Elbow Connector 14"/>
          <p:cNvCxnSpPr>
            <a:stCxn id="32" idx="1"/>
            <a:endCxn id="31" idx="3"/>
          </p:cNvCxnSpPr>
          <p:nvPr/>
        </p:nvCxnSpPr>
        <p:spPr>
          <a:xfrm rot="10800000" flipV="1">
            <a:off x="1943124" y="2821534"/>
            <a:ext cx="292077" cy="951067"/>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4" name="Elbow Connector 15"/>
          <p:cNvCxnSpPr>
            <a:stCxn id="62" idx="1"/>
            <a:endCxn id="31" idx="3"/>
          </p:cNvCxnSpPr>
          <p:nvPr/>
        </p:nvCxnSpPr>
        <p:spPr>
          <a:xfrm rot="10800000">
            <a:off x="1943124" y="3772602"/>
            <a:ext cx="292077" cy="822014"/>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38" name="Oval 19"/>
          <p:cNvSpPr/>
          <p:nvPr/>
        </p:nvSpPr>
        <p:spPr>
          <a:xfrm>
            <a:off x="2024522" y="3695141"/>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smtClean="0">
                <a:solidFill>
                  <a:schemeClr val="bg1"/>
                </a:solidFill>
              </a:rPr>
              <a:t>-</a:t>
            </a:r>
            <a:endParaRPr lang="en-US" sz="900" b="1" dirty="0">
              <a:solidFill>
                <a:schemeClr val="bg1"/>
              </a:solidFill>
            </a:endParaRPr>
          </a:p>
        </p:txBody>
      </p:sp>
      <p:sp>
        <p:nvSpPr>
          <p:cNvPr id="32" name="Rectangle 13"/>
          <p:cNvSpPr/>
          <p:nvPr/>
        </p:nvSpPr>
        <p:spPr>
          <a:xfrm>
            <a:off x="2235200" y="2615253"/>
            <a:ext cx="832813" cy="412564"/>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7600" tIns="54000" rIns="54000" bIns="54000" rtlCol="0" anchor="ctr"/>
          <a:lstStyle/>
          <a:p>
            <a:pPr algn="ctr"/>
            <a:r>
              <a:rPr lang="en-US" sz="800" dirty="0" smtClean="0">
                <a:solidFill>
                  <a:schemeClr val="bg1"/>
                </a:solidFill>
              </a:rPr>
              <a:t>Gross profit</a:t>
            </a:r>
            <a:endParaRPr lang="en-US" sz="800" dirty="0">
              <a:solidFill>
                <a:schemeClr val="bg1"/>
              </a:solidFill>
            </a:endParaRPr>
          </a:p>
        </p:txBody>
      </p:sp>
      <p:sp>
        <p:nvSpPr>
          <p:cNvPr id="35" name="Rectangle 16"/>
          <p:cNvSpPr/>
          <p:nvPr/>
        </p:nvSpPr>
        <p:spPr>
          <a:xfrm>
            <a:off x="3370249" y="2266309"/>
            <a:ext cx="870107" cy="274728"/>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Sales</a:t>
            </a:r>
            <a:endParaRPr lang="en-US" sz="800" dirty="0">
              <a:solidFill>
                <a:schemeClr val="bg1"/>
              </a:solidFill>
            </a:endParaRPr>
          </a:p>
        </p:txBody>
      </p:sp>
      <p:cxnSp>
        <p:nvCxnSpPr>
          <p:cNvPr id="36" name="Elbow Connector 17"/>
          <p:cNvCxnSpPr>
            <a:stCxn id="32" idx="3"/>
            <a:endCxn id="35" idx="1"/>
          </p:cNvCxnSpPr>
          <p:nvPr/>
        </p:nvCxnSpPr>
        <p:spPr>
          <a:xfrm flipV="1">
            <a:off x="3068013" y="2403673"/>
            <a:ext cx="302236" cy="417862"/>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7" name="Elbow Connector 18"/>
          <p:cNvCxnSpPr>
            <a:stCxn id="39" idx="1"/>
            <a:endCxn id="32" idx="3"/>
          </p:cNvCxnSpPr>
          <p:nvPr/>
        </p:nvCxnSpPr>
        <p:spPr>
          <a:xfrm rot="10800000">
            <a:off x="3068013" y="2821536"/>
            <a:ext cx="302236" cy="406445"/>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39" name="Rectangle 22"/>
          <p:cNvSpPr/>
          <p:nvPr/>
        </p:nvSpPr>
        <p:spPr>
          <a:xfrm>
            <a:off x="3370249" y="3090616"/>
            <a:ext cx="870107" cy="274728"/>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Costs of materials</a:t>
            </a:r>
            <a:endParaRPr lang="en-US" sz="800" dirty="0">
              <a:solidFill>
                <a:schemeClr val="bg1"/>
              </a:solidFill>
            </a:endParaRPr>
          </a:p>
        </p:txBody>
      </p:sp>
      <p:sp>
        <p:nvSpPr>
          <p:cNvPr id="40" name="Rectangle 23"/>
          <p:cNvSpPr/>
          <p:nvPr/>
        </p:nvSpPr>
        <p:spPr>
          <a:xfrm>
            <a:off x="4686716" y="2051185"/>
            <a:ext cx="870107" cy="274728"/>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Market development</a:t>
            </a:r>
            <a:endParaRPr lang="en-US" sz="800" dirty="0">
              <a:solidFill>
                <a:schemeClr val="bg1"/>
              </a:solidFill>
            </a:endParaRPr>
          </a:p>
        </p:txBody>
      </p:sp>
      <p:sp>
        <p:nvSpPr>
          <p:cNvPr id="41" name="Rectangle 25"/>
          <p:cNvSpPr/>
          <p:nvPr/>
        </p:nvSpPr>
        <p:spPr>
          <a:xfrm>
            <a:off x="4686716" y="2531982"/>
            <a:ext cx="870107" cy="274728"/>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Trend analysis (with KPIs)</a:t>
            </a:r>
            <a:endParaRPr lang="en-US" sz="800" dirty="0">
              <a:solidFill>
                <a:schemeClr val="bg1"/>
              </a:solidFill>
            </a:endParaRPr>
          </a:p>
        </p:txBody>
      </p:sp>
      <p:cxnSp>
        <p:nvCxnSpPr>
          <p:cNvPr id="42" name="Elbow Connector 28"/>
          <p:cNvCxnSpPr>
            <a:stCxn id="35" idx="3"/>
            <a:endCxn id="40" idx="1"/>
          </p:cNvCxnSpPr>
          <p:nvPr/>
        </p:nvCxnSpPr>
        <p:spPr>
          <a:xfrm flipV="1">
            <a:off x="4240356" y="2188549"/>
            <a:ext cx="446360" cy="215124"/>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43" name="Elbow Connector 29"/>
          <p:cNvCxnSpPr>
            <a:stCxn id="35" idx="3"/>
            <a:endCxn id="41" idx="1"/>
          </p:cNvCxnSpPr>
          <p:nvPr/>
        </p:nvCxnSpPr>
        <p:spPr>
          <a:xfrm>
            <a:off x="4240356" y="2403674"/>
            <a:ext cx="446360" cy="265673"/>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44" name="Oval 31"/>
          <p:cNvSpPr>
            <a:spLocks/>
          </p:cNvSpPr>
          <p:nvPr/>
        </p:nvSpPr>
        <p:spPr>
          <a:xfrm>
            <a:off x="3128823" y="2752632"/>
            <a:ext cx="144000" cy="144000"/>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smtClean="0">
                <a:solidFill>
                  <a:schemeClr val="bg1"/>
                </a:solidFill>
              </a:rPr>
              <a:t>-</a:t>
            </a:r>
            <a:endParaRPr lang="en-US" sz="900" b="1" dirty="0">
              <a:solidFill>
                <a:schemeClr val="bg1"/>
              </a:solidFill>
            </a:endParaRPr>
          </a:p>
        </p:txBody>
      </p:sp>
      <p:sp>
        <p:nvSpPr>
          <p:cNvPr id="45" name="Rectangle 34"/>
          <p:cNvSpPr/>
          <p:nvPr/>
        </p:nvSpPr>
        <p:spPr>
          <a:xfrm>
            <a:off x="4686665" y="2938668"/>
            <a:ext cx="870107" cy="274728"/>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Margin (in % of sales)</a:t>
            </a:r>
            <a:endParaRPr lang="en-US" sz="800" dirty="0">
              <a:solidFill>
                <a:schemeClr val="bg1"/>
              </a:solidFill>
            </a:endParaRPr>
          </a:p>
        </p:txBody>
      </p:sp>
      <p:sp>
        <p:nvSpPr>
          <p:cNvPr id="46" name="Rectangle 35"/>
          <p:cNvSpPr/>
          <p:nvPr/>
        </p:nvSpPr>
        <p:spPr>
          <a:xfrm>
            <a:off x="4686665" y="3262275"/>
            <a:ext cx="870107" cy="274728"/>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dirty="0" smtClean="0">
                <a:solidFill>
                  <a:schemeClr val="bg1"/>
                </a:solidFill>
              </a:rPr>
              <a:t>According to</a:t>
            </a:r>
            <a:br>
              <a:rPr lang="en-US" sz="800" dirty="0" smtClean="0">
                <a:solidFill>
                  <a:schemeClr val="bg1"/>
                </a:solidFill>
              </a:rPr>
            </a:br>
            <a:r>
              <a:rPr lang="en-US" sz="800" dirty="0" smtClean="0">
                <a:solidFill>
                  <a:schemeClr val="bg1"/>
                </a:solidFill>
              </a:rPr>
              <a:t> types of materials</a:t>
            </a:r>
            <a:endParaRPr lang="en-US" sz="800" dirty="0">
              <a:solidFill>
                <a:schemeClr val="bg1"/>
              </a:solidFill>
            </a:endParaRPr>
          </a:p>
        </p:txBody>
      </p:sp>
      <p:cxnSp>
        <p:nvCxnSpPr>
          <p:cNvPr id="47" name="Elbow Connector 36"/>
          <p:cNvCxnSpPr>
            <a:stCxn id="39" idx="3"/>
            <a:endCxn id="45" idx="1"/>
          </p:cNvCxnSpPr>
          <p:nvPr/>
        </p:nvCxnSpPr>
        <p:spPr>
          <a:xfrm flipV="1">
            <a:off x="4240356" y="3076032"/>
            <a:ext cx="446309" cy="151948"/>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48" name="Elbow Connector 37"/>
          <p:cNvCxnSpPr>
            <a:stCxn id="39" idx="3"/>
            <a:endCxn id="46" idx="1"/>
          </p:cNvCxnSpPr>
          <p:nvPr/>
        </p:nvCxnSpPr>
        <p:spPr>
          <a:xfrm>
            <a:off x="4240356" y="3227980"/>
            <a:ext cx="446309" cy="171659"/>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50" name="Rectangle 64"/>
          <p:cNvSpPr/>
          <p:nvPr/>
        </p:nvSpPr>
        <p:spPr>
          <a:xfrm>
            <a:off x="6124393" y="3227965"/>
            <a:ext cx="756698" cy="137349"/>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Price</a:t>
            </a:r>
            <a:endParaRPr lang="en-US" sz="800" dirty="0">
              <a:solidFill>
                <a:schemeClr val="bg1"/>
              </a:solidFill>
            </a:endParaRPr>
          </a:p>
        </p:txBody>
      </p:sp>
      <p:sp>
        <p:nvSpPr>
          <p:cNvPr id="51" name="Rectangle 65"/>
          <p:cNvSpPr/>
          <p:nvPr/>
        </p:nvSpPr>
        <p:spPr>
          <a:xfrm>
            <a:off x="6124393" y="3434033"/>
            <a:ext cx="756698" cy="137349"/>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Volume</a:t>
            </a:r>
            <a:endParaRPr lang="en-US" sz="800" dirty="0">
              <a:solidFill>
                <a:schemeClr val="bg1"/>
              </a:solidFill>
            </a:endParaRPr>
          </a:p>
        </p:txBody>
      </p:sp>
      <p:cxnSp>
        <p:nvCxnSpPr>
          <p:cNvPr id="52" name="Elbow Connector 66"/>
          <p:cNvCxnSpPr>
            <a:stCxn id="46" idx="3"/>
            <a:endCxn id="51" idx="1"/>
          </p:cNvCxnSpPr>
          <p:nvPr/>
        </p:nvCxnSpPr>
        <p:spPr>
          <a:xfrm>
            <a:off x="5556772" y="3399639"/>
            <a:ext cx="567621" cy="103069"/>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53" name="Elbow Connector 67"/>
          <p:cNvCxnSpPr>
            <a:stCxn id="46" idx="3"/>
            <a:endCxn id="50" idx="1"/>
          </p:cNvCxnSpPr>
          <p:nvPr/>
        </p:nvCxnSpPr>
        <p:spPr>
          <a:xfrm flipV="1">
            <a:off x="5556772" y="3296639"/>
            <a:ext cx="567621" cy="1030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54" name="Oval 68"/>
          <p:cNvSpPr/>
          <p:nvPr/>
        </p:nvSpPr>
        <p:spPr>
          <a:xfrm>
            <a:off x="5766062" y="3323911"/>
            <a:ext cx="144000" cy="144000"/>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schemeClr val="bg1"/>
                </a:solidFill>
              </a:rPr>
              <a:t>x</a:t>
            </a:r>
            <a:endParaRPr lang="en-US" sz="800" b="1" dirty="0">
              <a:solidFill>
                <a:schemeClr val="bg1"/>
              </a:solidFill>
            </a:endParaRPr>
          </a:p>
        </p:txBody>
      </p:sp>
      <p:sp>
        <p:nvSpPr>
          <p:cNvPr id="57" name="Rectangle 64"/>
          <p:cNvSpPr/>
          <p:nvPr/>
        </p:nvSpPr>
        <p:spPr>
          <a:xfrm>
            <a:off x="6124393" y="2243081"/>
            <a:ext cx="756698" cy="137349"/>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Price</a:t>
            </a:r>
            <a:endParaRPr lang="en-US" sz="800" dirty="0">
              <a:solidFill>
                <a:schemeClr val="bg1"/>
              </a:solidFill>
            </a:endParaRPr>
          </a:p>
        </p:txBody>
      </p:sp>
      <p:sp>
        <p:nvSpPr>
          <p:cNvPr id="58" name="Rectangle 65"/>
          <p:cNvSpPr/>
          <p:nvPr/>
        </p:nvSpPr>
        <p:spPr>
          <a:xfrm>
            <a:off x="6124393" y="2449150"/>
            <a:ext cx="756698" cy="137349"/>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Volume</a:t>
            </a:r>
            <a:endParaRPr lang="en-US" sz="800" dirty="0">
              <a:solidFill>
                <a:schemeClr val="bg1"/>
              </a:solidFill>
            </a:endParaRPr>
          </a:p>
        </p:txBody>
      </p:sp>
      <p:cxnSp>
        <p:nvCxnSpPr>
          <p:cNvPr id="59" name="Elbow Connector 66"/>
          <p:cNvCxnSpPr>
            <a:stCxn id="35" idx="3"/>
            <a:endCxn id="58" idx="1"/>
          </p:cNvCxnSpPr>
          <p:nvPr/>
        </p:nvCxnSpPr>
        <p:spPr>
          <a:xfrm>
            <a:off x="4240356" y="2403674"/>
            <a:ext cx="1884037" cy="114150"/>
          </a:xfrm>
          <a:prstGeom prst="bentConnector3">
            <a:avLst>
              <a:gd name="adj1" fmla="val 84533"/>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60" name="Elbow Connector 67"/>
          <p:cNvCxnSpPr>
            <a:stCxn id="35" idx="3"/>
            <a:endCxn id="57" idx="1"/>
          </p:cNvCxnSpPr>
          <p:nvPr/>
        </p:nvCxnSpPr>
        <p:spPr>
          <a:xfrm flipV="1">
            <a:off x="4240356" y="2311755"/>
            <a:ext cx="1884037" cy="91918"/>
          </a:xfrm>
          <a:prstGeom prst="bentConnector3">
            <a:avLst>
              <a:gd name="adj1" fmla="val 84533"/>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61" name="Oval 68"/>
          <p:cNvSpPr>
            <a:spLocks/>
          </p:cNvSpPr>
          <p:nvPr/>
        </p:nvSpPr>
        <p:spPr>
          <a:xfrm>
            <a:off x="5766062" y="2334998"/>
            <a:ext cx="144000" cy="144000"/>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schemeClr val="bg1"/>
                </a:solidFill>
              </a:rPr>
              <a:t>x</a:t>
            </a:r>
            <a:endParaRPr lang="en-US" sz="800" b="1" dirty="0">
              <a:solidFill>
                <a:schemeClr val="bg1"/>
              </a:solidFill>
            </a:endParaRPr>
          </a:p>
        </p:txBody>
      </p:sp>
      <p:sp>
        <p:nvSpPr>
          <p:cNvPr id="62" name="Rectangle 21"/>
          <p:cNvSpPr/>
          <p:nvPr/>
        </p:nvSpPr>
        <p:spPr>
          <a:xfrm>
            <a:off x="2235200" y="4388334"/>
            <a:ext cx="832813" cy="412564"/>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Expenditures as per gross profit</a:t>
            </a:r>
            <a:endParaRPr lang="en-US" sz="800" dirty="0">
              <a:solidFill>
                <a:schemeClr val="bg1"/>
              </a:solidFill>
            </a:endParaRPr>
          </a:p>
        </p:txBody>
      </p:sp>
      <p:sp>
        <p:nvSpPr>
          <p:cNvPr id="63" name="Rectangle 21"/>
          <p:cNvSpPr/>
          <p:nvPr/>
        </p:nvSpPr>
        <p:spPr>
          <a:xfrm>
            <a:off x="3592853" y="5553125"/>
            <a:ext cx="988114" cy="334031"/>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Depreciation</a:t>
            </a:r>
            <a:endParaRPr lang="en-US" sz="800" dirty="0">
              <a:solidFill>
                <a:schemeClr val="bg1"/>
              </a:solidFill>
            </a:endParaRPr>
          </a:p>
        </p:txBody>
      </p:sp>
      <p:sp>
        <p:nvSpPr>
          <p:cNvPr id="64" name="Rectangle 16"/>
          <p:cNvSpPr/>
          <p:nvPr/>
        </p:nvSpPr>
        <p:spPr>
          <a:xfrm>
            <a:off x="3370249" y="4202162"/>
            <a:ext cx="1059378" cy="274728"/>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r>
              <a:rPr lang="en-US" sz="800" dirty="0" smtClean="0">
                <a:solidFill>
                  <a:schemeClr val="bg1"/>
                </a:solidFill>
              </a:rPr>
              <a:t>Personnel costs</a:t>
            </a:r>
            <a:endParaRPr lang="en-US" sz="800" dirty="0">
              <a:solidFill>
                <a:schemeClr val="bg1"/>
              </a:solidFill>
            </a:endParaRPr>
          </a:p>
        </p:txBody>
      </p:sp>
      <p:cxnSp>
        <p:nvCxnSpPr>
          <p:cNvPr id="65" name="Elbow Connector 17"/>
          <p:cNvCxnSpPr>
            <a:stCxn id="62" idx="3"/>
            <a:endCxn id="64" idx="1"/>
          </p:cNvCxnSpPr>
          <p:nvPr/>
        </p:nvCxnSpPr>
        <p:spPr>
          <a:xfrm flipV="1">
            <a:off x="3068013" y="4339526"/>
            <a:ext cx="302236" cy="25509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66" name="Elbow Connector 18"/>
          <p:cNvCxnSpPr>
            <a:stCxn id="67" idx="1"/>
            <a:endCxn id="62" idx="3"/>
          </p:cNvCxnSpPr>
          <p:nvPr/>
        </p:nvCxnSpPr>
        <p:spPr>
          <a:xfrm rot="10800000">
            <a:off x="3068013" y="4594617"/>
            <a:ext cx="302236" cy="396897"/>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67" name="Rectangle 22"/>
          <p:cNvSpPr/>
          <p:nvPr/>
        </p:nvSpPr>
        <p:spPr>
          <a:xfrm>
            <a:off x="3370249" y="4854149"/>
            <a:ext cx="1059378" cy="274728"/>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r>
              <a:rPr lang="en-US" sz="800" dirty="0" smtClean="0">
                <a:solidFill>
                  <a:schemeClr val="bg1"/>
                </a:solidFill>
              </a:rPr>
              <a:t>Other expenditures (+ earnings) </a:t>
            </a:r>
            <a:endParaRPr lang="en-US" sz="800" dirty="0">
              <a:solidFill>
                <a:schemeClr val="bg1"/>
              </a:solidFill>
            </a:endParaRPr>
          </a:p>
        </p:txBody>
      </p:sp>
      <p:cxnSp>
        <p:nvCxnSpPr>
          <p:cNvPr id="75" name="Elbow Connector 15"/>
          <p:cNvCxnSpPr>
            <a:stCxn id="63" idx="1"/>
            <a:endCxn id="62" idx="2"/>
          </p:cNvCxnSpPr>
          <p:nvPr/>
        </p:nvCxnSpPr>
        <p:spPr>
          <a:xfrm rot="10800000">
            <a:off x="2651607" y="4800899"/>
            <a:ext cx="941246" cy="919243"/>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5484001" y="2676727"/>
            <a:ext cx="75670" cy="137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Rechteck 101"/>
          <p:cNvSpPr/>
          <p:nvPr/>
        </p:nvSpPr>
        <p:spPr>
          <a:xfrm>
            <a:off x="6788180" y="2852718"/>
            <a:ext cx="68690" cy="137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Rechteck 102"/>
          <p:cNvSpPr/>
          <p:nvPr/>
        </p:nvSpPr>
        <p:spPr>
          <a:xfrm>
            <a:off x="7093016" y="2852718"/>
            <a:ext cx="68690" cy="137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hteck 103"/>
          <p:cNvSpPr/>
          <p:nvPr/>
        </p:nvSpPr>
        <p:spPr>
          <a:xfrm>
            <a:off x="6481072" y="4370161"/>
            <a:ext cx="68690" cy="137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Rechteck 104"/>
          <p:cNvSpPr/>
          <p:nvPr/>
        </p:nvSpPr>
        <p:spPr>
          <a:xfrm>
            <a:off x="7094736" y="4370161"/>
            <a:ext cx="68690" cy="137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Rechteck 105"/>
          <p:cNvSpPr/>
          <p:nvPr/>
        </p:nvSpPr>
        <p:spPr>
          <a:xfrm>
            <a:off x="7094736" y="4850989"/>
            <a:ext cx="68690" cy="137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7" name="Rechteck 106"/>
          <p:cNvSpPr/>
          <p:nvPr/>
        </p:nvSpPr>
        <p:spPr>
          <a:xfrm>
            <a:off x="6481072" y="4850989"/>
            <a:ext cx="68690" cy="137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 name="Gruppieren 11"/>
          <p:cNvGrpSpPr/>
          <p:nvPr/>
        </p:nvGrpSpPr>
        <p:grpSpPr>
          <a:xfrm>
            <a:off x="501771" y="1431636"/>
            <a:ext cx="8927560" cy="288200"/>
            <a:chOff x="488950" y="1422401"/>
            <a:chExt cx="8927560" cy="288200"/>
          </a:xfrm>
        </p:grpSpPr>
        <p:sp>
          <p:nvSpPr>
            <p:cNvPr id="108" name="Rechteck 35"/>
            <p:cNvSpPr/>
            <p:nvPr/>
          </p:nvSpPr>
          <p:spPr>
            <a:xfrm>
              <a:off x="7815146" y="1422601"/>
              <a:ext cx="1601364" cy="28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Commentary</a:t>
              </a:r>
              <a:endParaRPr lang="en-US" sz="900" b="1" dirty="0"/>
            </a:p>
          </p:txBody>
        </p:sp>
        <p:sp>
          <p:nvSpPr>
            <p:cNvPr id="109" name="Rechteck 20"/>
            <p:cNvSpPr/>
            <p:nvPr/>
          </p:nvSpPr>
          <p:spPr>
            <a:xfrm>
              <a:off x="488950" y="1422401"/>
              <a:ext cx="1533221" cy="28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lnSpc>
                  <a:spcPts val="1100"/>
                </a:lnSpc>
              </a:pPr>
              <a:r>
                <a:rPr lang="en-US" sz="900" b="1" dirty="0" smtClean="0"/>
                <a:t>High level </a:t>
              </a:r>
              <a:br>
                <a:rPr lang="en-US" sz="900" b="1" dirty="0" smtClean="0"/>
              </a:br>
              <a:r>
                <a:rPr lang="en-US" sz="900" b="1" dirty="0" smtClean="0"/>
                <a:t>P&amp;L analysis</a:t>
              </a:r>
              <a:endParaRPr lang="en-US" sz="900" b="1" dirty="0"/>
            </a:p>
          </p:txBody>
        </p:sp>
        <p:sp>
          <p:nvSpPr>
            <p:cNvPr id="110" name="Rechteck 75"/>
            <p:cNvSpPr/>
            <p:nvPr/>
          </p:nvSpPr>
          <p:spPr>
            <a:xfrm>
              <a:off x="2080790" y="1422601"/>
              <a:ext cx="5689953" cy="28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Workbooks for in-depth analysis – Value Driver Tree</a:t>
              </a:r>
              <a:endParaRPr lang="en-US" sz="900" b="1" dirty="0"/>
            </a:p>
          </p:txBody>
        </p:sp>
      </p:grpSp>
      <p:sp>
        <p:nvSpPr>
          <p:cNvPr id="81" name="Rectangle 34"/>
          <p:cNvSpPr/>
          <p:nvPr/>
        </p:nvSpPr>
        <p:spPr>
          <a:xfrm>
            <a:off x="4894963" y="3993385"/>
            <a:ext cx="870107" cy="274728"/>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bg1"/>
                </a:solidFill>
              </a:rPr>
              <a:t>Headcount (FTEs)</a:t>
            </a:r>
            <a:endParaRPr lang="en-US" sz="800" dirty="0">
              <a:solidFill>
                <a:schemeClr val="bg1"/>
              </a:solidFill>
            </a:endParaRPr>
          </a:p>
        </p:txBody>
      </p:sp>
      <p:sp>
        <p:nvSpPr>
          <p:cNvPr id="82" name="Rectangle 35"/>
          <p:cNvSpPr/>
          <p:nvPr/>
        </p:nvSpPr>
        <p:spPr>
          <a:xfrm>
            <a:off x="4894963" y="4355092"/>
            <a:ext cx="870107" cy="274728"/>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dirty="0" smtClean="0">
                <a:solidFill>
                  <a:schemeClr val="bg1"/>
                </a:solidFill>
              </a:rPr>
              <a:t>Level of remuneration</a:t>
            </a:r>
            <a:endParaRPr lang="en-US" sz="800" dirty="0">
              <a:solidFill>
                <a:schemeClr val="bg1"/>
              </a:solidFill>
            </a:endParaRPr>
          </a:p>
        </p:txBody>
      </p:sp>
      <p:cxnSp>
        <p:nvCxnSpPr>
          <p:cNvPr id="83" name="Elbow Connector 36"/>
          <p:cNvCxnSpPr>
            <a:stCxn id="64" idx="3"/>
            <a:endCxn id="81" idx="1"/>
          </p:cNvCxnSpPr>
          <p:nvPr/>
        </p:nvCxnSpPr>
        <p:spPr>
          <a:xfrm flipV="1">
            <a:off x="4429627" y="4130749"/>
            <a:ext cx="465336" cy="208777"/>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84" name="Elbow Connector 37"/>
          <p:cNvCxnSpPr>
            <a:stCxn id="64" idx="3"/>
            <a:endCxn id="82" idx="1"/>
          </p:cNvCxnSpPr>
          <p:nvPr/>
        </p:nvCxnSpPr>
        <p:spPr>
          <a:xfrm>
            <a:off x="4429627" y="4339526"/>
            <a:ext cx="465336" cy="15293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87" name="Oval 68"/>
          <p:cNvSpPr/>
          <p:nvPr/>
        </p:nvSpPr>
        <p:spPr>
          <a:xfrm>
            <a:off x="4583810" y="4254680"/>
            <a:ext cx="144000" cy="144000"/>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schemeClr val="bg1"/>
                </a:solidFill>
              </a:rPr>
              <a:t>x</a:t>
            </a:r>
            <a:endParaRPr lang="en-US" sz="800" b="1" dirty="0">
              <a:solidFill>
                <a:schemeClr val="bg1"/>
              </a:solidFill>
            </a:endParaRPr>
          </a:p>
        </p:txBody>
      </p:sp>
      <p:sp>
        <p:nvSpPr>
          <p:cNvPr id="88" name="Rectangle 34"/>
          <p:cNvSpPr/>
          <p:nvPr/>
        </p:nvSpPr>
        <p:spPr>
          <a:xfrm>
            <a:off x="4894963" y="4724924"/>
            <a:ext cx="870107" cy="274728"/>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smtClean="0">
                <a:solidFill>
                  <a:schemeClr val="bg1"/>
                </a:solidFill>
              </a:rPr>
              <a:t>Trend of analysis as per type of expense</a:t>
            </a:r>
            <a:endParaRPr lang="en-US" sz="700" dirty="0">
              <a:solidFill>
                <a:schemeClr val="bg1"/>
              </a:solidFill>
            </a:endParaRPr>
          </a:p>
        </p:txBody>
      </p:sp>
      <p:sp>
        <p:nvSpPr>
          <p:cNvPr id="89" name="Rectangle 35"/>
          <p:cNvSpPr/>
          <p:nvPr/>
        </p:nvSpPr>
        <p:spPr>
          <a:xfrm>
            <a:off x="4894963" y="5048531"/>
            <a:ext cx="870107" cy="274728"/>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dirty="0" smtClean="0">
                <a:solidFill>
                  <a:schemeClr val="bg1"/>
                </a:solidFill>
              </a:rPr>
              <a:t>Fixed vs. variable and cost drivers</a:t>
            </a:r>
            <a:endParaRPr lang="en-US" sz="800" dirty="0">
              <a:solidFill>
                <a:schemeClr val="bg1"/>
              </a:solidFill>
            </a:endParaRPr>
          </a:p>
        </p:txBody>
      </p:sp>
      <p:cxnSp>
        <p:nvCxnSpPr>
          <p:cNvPr id="90" name="Elbow Connector 36"/>
          <p:cNvCxnSpPr>
            <a:stCxn id="67" idx="3"/>
            <a:endCxn id="88" idx="1"/>
          </p:cNvCxnSpPr>
          <p:nvPr/>
        </p:nvCxnSpPr>
        <p:spPr>
          <a:xfrm flipV="1">
            <a:off x="4429627" y="4862288"/>
            <a:ext cx="465336" cy="129225"/>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91" name="Elbow Connector 37"/>
          <p:cNvCxnSpPr>
            <a:stCxn id="67" idx="3"/>
            <a:endCxn id="89" idx="1"/>
          </p:cNvCxnSpPr>
          <p:nvPr/>
        </p:nvCxnSpPr>
        <p:spPr>
          <a:xfrm>
            <a:off x="4429627" y="4991513"/>
            <a:ext cx="465336" cy="194382"/>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111" name="Rectangle 4"/>
          <p:cNvSpPr>
            <a:spLocks noChangeArrowheads="1"/>
          </p:cNvSpPr>
          <p:nvPr>
            <p:custDataLst>
              <p:tags r:id="rId3"/>
            </p:custDataLst>
          </p:nvPr>
        </p:nvSpPr>
        <p:spPr bwMode="gray">
          <a:xfrm>
            <a:off x="6078633" y="4041496"/>
            <a:ext cx="1286559" cy="553120"/>
          </a:xfrm>
          <a:prstGeom prst="rect">
            <a:avLst/>
          </a:prstGeom>
          <a:solidFill>
            <a:schemeClr val="accent4"/>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Differentiated according to functions (production/storage, R&amp;D, sales, administration)</a:t>
            </a:r>
          </a:p>
        </p:txBody>
      </p:sp>
      <p:cxnSp>
        <p:nvCxnSpPr>
          <p:cNvPr id="112" name="Straight Arrow Connector 41"/>
          <p:cNvCxnSpPr/>
          <p:nvPr/>
        </p:nvCxnSpPr>
        <p:spPr>
          <a:xfrm flipH="1">
            <a:off x="5765070" y="4476890"/>
            <a:ext cx="544974" cy="0"/>
          </a:xfrm>
          <a:prstGeom prst="straightConnector1">
            <a:avLst/>
          </a:prstGeom>
          <a:solidFill>
            <a:srgbClr val="F5DB7E"/>
          </a:solidFill>
          <a:ln w="6350">
            <a:solidFill>
              <a:schemeClr val="accent4"/>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13" name="Straight Arrow Connector 41"/>
          <p:cNvCxnSpPr/>
          <p:nvPr/>
        </p:nvCxnSpPr>
        <p:spPr>
          <a:xfrm flipH="1">
            <a:off x="5765070" y="4845933"/>
            <a:ext cx="544974" cy="0"/>
          </a:xfrm>
          <a:prstGeom prst="straightConnector1">
            <a:avLst/>
          </a:prstGeom>
          <a:solidFill>
            <a:srgbClr val="F5DB7E"/>
          </a:solidFill>
          <a:ln w="6350">
            <a:solidFill>
              <a:schemeClr val="accent4"/>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14" name="Rectangle 4"/>
          <p:cNvSpPr>
            <a:spLocks noChangeArrowheads="1"/>
          </p:cNvSpPr>
          <p:nvPr>
            <p:custDataLst>
              <p:tags r:id="rId4"/>
            </p:custDataLst>
          </p:nvPr>
        </p:nvSpPr>
        <p:spPr bwMode="gray">
          <a:xfrm>
            <a:off x="6078633" y="4756680"/>
            <a:ext cx="1286559" cy="553120"/>
          </a:xfrm>
          <a:prstGeom prst="rect">
            <a:avLst/>
          </a:prstGeom>
          <a:solidFill>
            <a:schemeClr val="accent4"/>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e.g. yoy growth, in % of sales, per sqm rental space, etc.</a:t>
            </a:r>
          </a:p>
        </p:txBody>
      </p:sp>
      <p:cxnSp>
        <p:nvCxnSpPr>
          <p:cNvPr id="115" name="Straight Arrow Connector 41"/>
          <p:cNvCxnSpPr/>
          <p:nvPr/>
        </p:nvCxnSpPr>
        <p:spPr>
          <a:xfrm flipH="1">
            <a:off x="5765070" y="5192074"/>
            <a:ext cx="544974" cy="0"/>
          </a:xfrm>
          <a:prstGeom prst="straightConnector1">
            <a:avLst/>
          </a:prstGeom>
          <a:solidFill>
            <a:srgbClr val="F5DB7E"/>
          </a:solidFill>
          <a:ln w="6350">
            <a:solidFill>
              <a:schemeClr val="accent4"/>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725362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Expenditures from Gross Profit to EBIT Total Cost Method (Planning)</a:t>
            </a:r>
          </a:p>
        </p:txBody>
      </p:sp>
      <p:sp>
        <p:nvSpPr>
          <p:cNvPr id="4" name="Titel 3"/>
          <p:cNvSpPr>
            <a:spLocks noGrp="1"/>
          </p:cNvSpPr>
          <p:nvPr>
            <p:ph type="title"/>
          </p:nvPr>
        </p:nvSpPr>
        <p:spPr/>
        <p:txBody>
          <a:bodyPr/>
          <a:lstStyle/>
          <a:p>
            <a:r>
              <a:rPr lang="en-US" dirty="0"/>
              <a:t>Overview </a:t>
            </a:r>
            <a:r>
              <a:rPr lang="en-US" dirty="0" smtClean="0"/>
              <a:t>(3/6) </a:t>
            </a:r>
            <a:r>
              <a:rPr lang="en-US" dirty="0"/>
              <a:t>– </a:t>
            </a:r>
            <a:r>
              <a:rPr lang="en-US" dirty="0" smtClean="0"/>
              <a:t>Analysis puzzle</a:t>
            </a:r>
            <a:endParaRPr lang="en-US" dirty="0"/>
          </a:p>
        </p:txBody>
      </p:sp>
      <p:grpSp>
        <p:nvGrpSpPr>
          <p:cNvPr id="2" name="Gruppieren 1"/>
          <p:cNvGrpSpPr/>
          <p:nvPr/>
        </p:nvGrpSpPr>
        <p:grpSpPr>
          <a:xfrm>
            <a:off x="488950" y="1332554"/>
            <a:ext cx="8937283" cy="4658720"/>
            <a:chOff x="272481" y="1101645"/>
            <a:chExt cx="9361039" cy="4658720"/>
          </a:xfrm>
        </p:grpSpPr>
        <p:sp>
          <p:nvSpPr>
            <p:cNvPr id="78" name="Freihandform 77"/>
            <p:cNvSpPr/>
            <p:nvPr/>
          </p:nvSpPr>
          <p:spPr>
            <a:xfrm>
              <a:off x="8193360" y="1124744"/>
              <a:ext cx="676408" cy="4363095"/>
            </a:xfrm>
            <a:custGeom>
              <a:avLst/>
              <a:gdLst>
                <a:gd name="connsiteX0" fmla="*/ 0 w 537964"/>
                <a:gd name="connsiteY0" fmla="*/ 0 h 4968329"/>
                <a:gd name="connsiteX1" fmla="*/ 537964 w 537964"/>
                <a:gd name="connsiteY1" fmla="*/ 0 h 4968329"/>
                <a:gd name="connsiteX2" fmla="*/ 537964 w 537964"/>
                <a:gd name="connsiteY2" fmla="*/ 4968329 h 4968329"/>
                <a:gd name="connsiteX3" fmla="*/ 0 w 537964"/>
                <a:gd name="connsiteY3" fmla="*/ 4968329 h 4968329"/>
                <a:gd name="connsiteX4" fmla="*/ 0 w 537964"/>
                <a:gd name="connsiteY4"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1091 w 539055"/>
                <a:gd name="connsiteY5" fmla="*/ 0 h 4968329"/>
                <a:gd name="connsiteX0" fmla="*/ 89313 w 627277"/>
                <a:gd name="connsiteY0" fmla="*/ 543632 h 5511961"/>
                <a:gd name="connsiteX1" fmla="*/ 627277 w 627277"/>
                <a:gd name="connsiteY1" fmla="*/ 543632 h 5511961"/>
                <a:gd name="connsiteX2" fmla="*/ 627277 w 627277"/>
                <a:gd name="connsiteY2" fmla="*/ 5511961 h 5511961"/>
                <a:gd name="connsiteX3" fmla="*/ 89313 w 627277"/>
                <a:gd name="connsiteY3" fmla="*/ 5511961 h 5511961"/>
                <a:gd name="connsiteX4" fmla="*/ 88222 w 627277"/>
                <a:gd name="connsiteY4" fmla="*/ 807380 h 5511961"/>
                <a:gd name="connsiteX5" fmla="*/ 91398 w 627277"/>
                <a:gd name="connsiteY5" fmla="*/ 667680 h 5511961"/>
                <a:gd name="connsiteX6" fmla="*/ 89313 w 627277"/>
                <a:gd name="connsiteY6" fmla="*/ 543632 h 5511961"/>
                <a:gd name="connsiteX0" fmla="*/ 89313 w 627277"/>
                <a:gd name="connsiteY0" fmla="*/ 0 h 4968329"/>
                <a:gd name="connsiteX1" fmla="*/ 627277 w 627277"/>
                <a:gd name="connsiteY1" fmla="*/ 0 h 4968329"/>
                <a:gd name="connsiteX2" fmla="*/ 627277 w 627277"/>
                <a:gd name="connsiteY2" fmla="*/ 4968329 h 4968329"/>
                <a:gd name="connsiteX3" fmla="*/ 89313 w 627277"/>
                <a:gd name="connsiteY3" fmla="*/ 4968329 h 4968329"/>
                <a:gd name="connsiteX4" fmla="*/ 88222 w 627277"/>
                <a:gd name="connsiteY4" fmla="*/ 263748 h 4968329"/>
                <a:gd name="connsiteX5" fmla="*/ 91398 w 627277"/>
                <a:gd name="connsiteY5" fmla="*/ 124048 h 4968329"/>
                <a:gd name="connsiteX6" fmla="*/ 89313 w 627277"/>
                <a:gd name="connsiteY6"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176 w 539055"/>
                <a:gd name="connsiteY5" fmla="*/ 124048 h 4968329"/>
                <a:gd name="connsiteX6" fmla="*/ 1091 w 539055"/>
                <a:gd name="connsiteY6"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176 w 539055"/>
                <a:gd name="connsiteY5" fmla="*/ 124048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1092 w 539055"/>
                <a:gd name="connsiteY5" fmla="*/ 144016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61132 w 539055"/>
                <a:gd name="connsiteY5" fmla="*/ 144016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61132 w 539055"/>
                <a:gd name="connsiteY5" fmla="*/ 144016 h 4968329"/>
                <a:gd name="connsiteX6" fmla="*/ 1 w 539055"/>
                <a:gd name="connsiteY6" fmla="*/ 44673 h 4968329"/>
                <a:gd name="connsiteX7" fmla="*/ 1091 w 539055"/>
                <a:gd name="connsiteY7" fmla="*/ 0 h 4968329"/>
                <a:gd name="connsiteX0" fmla="*/ 1091 w 539055"/>
                <a:gd name="connsiteY0" fmla="*/ 51941 h 5020270"/>
                <a:gd name="connsiteX1" fmla="*/ 539055 w 539055"/>
                <a:gd name="connsiteY1" fmla="*/ 51941 h 5020270"/>
                <a:gd name="connsiteX2" fmla="*/ 539055 w 539055"/>
                <a:gd name="connsiteY2" fmla="*/ 5020270 h 5020270"/>
                <a:gd name="connsiteX3" fmla="*/ 1091 w 539055"/>
                <a:gd name="connsiteY3" fmla="*/ 5020270 h 5020270"/>
                <a:gd name="connsiteX4" fmla="*/ 0 w 539055"/>
                <a:gd name="connsiteY4" fmla="*/ 315689 h 5020270"/>
                <a:gd name="connsiteX5" fmla="*/ 361132 w 539055"/>
                <a:gd name="connsiteY5" fmla="*/ 195957 h 5020270"/>
                <a:gd name="connsiteX6" fmla="*/ 1 w 539055"/>
                <a:gd name="connsiteY6" fmla="*/ 96614 h 5020270"/>
                <a:gd name="connsiteX7" fmla="*/ 1091 w 539055"/>
                <a:gd name="connsiteY7" fmla="*/ 51941 h 5020270"/>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107504 h 5075833"/>
                <a:gd name="connsiteX1" fmla="*/ 539055 w 539055"/>
                <a:gd name="connsiteY1" fmla="*/ 107504 h 5075833"/>
                <a:gd name="connsiteX2" fmla="*/ 539055 w 539055"/>
                <a:gd name="connsiteY2" fmla="*/ 5075833 h 5075833"/>
                <a:gd name="connsiteX3" fmla="*/ 1091 w 539055"/>
                <a:gd name="connsiteY3" fmla="*/ 5075833 h 5075833"/>
                <a:gd name="connsiteX4" fmla="*/ 0 w 539055"/>
                <a:gd name="connsiteY4" fmla="*/ 371252 h 5075833"/>
                <a:gd name="connsiteX5" fmla="*/ 361132 w 539055"/>
                <a:gd name="connsiteY5" fmla="*/ 251520 h 5075833"/>
                <a:gd name="connsiteX6" fmla="*/ 1 w 539055"/>
                <a:gd name="connsiteY6" fmla="*/ 152177 h 5075833"/>
                <a:gd name="connsiteX7" fmla="*/ 1091 w 539055"/>
                <a:gd name="connsiteY7" fmla="*/ 107504 h 5075833"/>
                <a:gd name="connsiteX0" fmla="*/ 1091 w 539055"/>
                <a:gd name="connsiteY0" fmla="*/ 55340 h 5023669"/>
                <a:gd name="connsiteX1" fmla="*/ 539055 w 539055"/>
                <a:gd name="connsiteY1" fmla="*/ 55340 h 5023669"/>
                <a:gd name="connsiteX2" fmla="*/ 539055 w 539055"/>
                <a:gd name="connsiteY2" fmla="*/ 5023669 h 5023669"/>
                <a:gd name="connsiteX3" fmla="*/ 1091 w 539055"/>
                <a:gd name="connsiteY3" fmla="*/ 5023669 h 5023669"/>
                <a:gd name="connsiteX4" fmla="*/ 0 w 539055"/>
                <a:gd name="connsiteY4" fmla="*/ 319088 h 5023669"/>
                <a:gd name="connsiteX5" fmla="*/ 361132 w 539055"/>
                <a:gd name="connsiteY5" fmla="*/ 199356 h 5023669"/>
                <a:gd name="connsiteX6" fmla="*/ 1 w 539055"/>
                <a:gd name="connsiteY6" fmla="*/ 100013 h 5023669"/>
                <a:gd name="connsiteX7" fmla="*/ 1091 w 539055"/>
                <a:gd name="connsiteY7" fmla="*/ 55340 h 5023669"/>
                <a:gd name="connsiteX0" fmla="*/ 1091 w 539055"/>
                <a:gd name="connsiteY0" fmla="*/ 100584 h 5068913"/>
                <a:gd name="connsiteX1" fmla="*/ 539055 w 539055"/>
                <a:gd name="connsiteY1" fmla="*/ 100584 h 5068913"/>
                <a:gd name="connsiteX2" fmla="*/ 539055 w 539055"/>
                <a:gd name="connsiteY2" fmla="*/ 5068913 h 5068913"/>
                <a:gd name="connsiteX3" fmla="*/ 1091 w 539055"/>
                <a:gd name="connsiteY3" fmla="*/ 5068913 h 5068913"/>
                <a:gd name="connsiteX4" fmla="*/ 0 w 539055"/>
                <a:gd name="connsiteY4" fmla="*/ 364332 h 5068913"/>
                <a:gd name="connsiteX5" fmla="*/ 361132 w 539055"/>
                <a:gd name="connsiteY5" fmla="*/ 244600 h 5068913"/>
                <a:gd name="connsiteX6" fmla="*/ 1 w 539055"/>
                <a:gd name="connsiteY6" fmla="*/ 145257 h 5068913"/>
                <a:gd name="connsiteX7" fmla="*/ 1091 w 539055"/>
                <a:gd name="connsiteY7" fmla="*/ 100584 h 5068913"/>
                <a:gd name="connsiteX0" fmla="*/ 1091 w 539055"/>
                <a:gd name="connsiteY0" fmla="*/ 139478 h 5107807"/>
                <a:gd name="connsiteX1" fmla="*/ 539055 w 539055"/>
                <a:gd name="connsiteY1" fmla="*/ 139478 h 5107807"/>
                <a:gd name="connsiteX2" fmla="*/ 539055 w 539055"/>
                <a:gd name="connsiteY2" fmla="*/ 5107807 h 5107807"/>
                <a:gd name="connsiteX3" fmla="*/ 1091 w 539055"/>
                <a:gd name="connsiteY3" fmla="*/ 5107807 h 5107807"/>
                <a:gd name="connsiteX4" fmla="*/ 0 w 539055"/>
                <a:gd name="connsiteY4" fmla="*/ 403226 h 5107807"/>
                <a:gd name="connsiteX5" fmla="*/ 361132 w 539055"/>
                <a:gd name="connsiteY5" fmla="*/ 283494 h 5107807"/>
                <a:gd name="connsiteX6" fmla="*/ 1 w 539055"/>
                <a:gd name="connsiteY6" fmla="*/ 184151 h 5107807"/>
                <a:gd name="connsiteX7" fmla="*/ 1091 w 539055"/>
                <a:gd name="connsiteY7" fmla="*/ 139478 h 5107807"/>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 w 539055"/>
                <a:gd name="connsiteY6" fmla="*/ 138337 h 5061993"/>
                <a:gd name="connsiteX7" fmla="*/ 1091 w 539055"/>
                <a:gd name="connsiteY7" fmla="*/ 93664 h 5061993"/>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 w 539055"/>
                <a:gd name="connsiteY6" fmla="*/ 138337 h 5061993"/>
                <a:gd name="connsiteX7" fmla="*/ 1091 w 539055"/>
                <a:gd name="connsiteY7" fmla="*/ 93664 h 5061993"/>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092 w 539055"/>
                <a:gd name="connsiteY6" fmla="*/ 165673 h 5061993"/>
                <a:gd name="connsiteX7" fmla="*/ 1091 w 539055"/>
                <a:gd name="connsiteY7" fmla="*/ 93664 h 5061993"/>
                <a:gd name="connsiteX0" fmla="*/ 1091 w 539055"/>
                <a:gd name="connsiteY0" fmla="*/ 21655 h 4989984"/>
                <a:gd name="connsiteX1" fmla="*/ 539055 w 539055"/>
                <a:gd name="connsiteY1" fmla="*/ 21655 h 4989984"/>
                <a:gd name="connsiteX2" fmla="*/ 539055 w 539055"/>
                <a:gd name="connsiteY2" fmla="*/ 4989984 h 4989984"/>
                <a:gd name="connsiteX3" fmla="*/ 1091 w 539055"/>
                <a:gd name="connsiteY3" fmla="*/ 4989984 h 4989984"/>
                <a:gd name="connsiteX4" fmla="*/ 0 w 539055"/>
                <a:gd name="connsiteY4" fmla="*/ 285403 h 4989984"/>
                <a:gd name="connsiteX5" fmla="*/ 361132 w 539055"/>
                <a:gd name="connsiteY5" fmla="*/ 237680 h 4989984"/>
                <a:gd name="connsiteX6" fmla="*/ 1092 w 539055"/>
                <a:gd name="connsiteY6" fmla="*/ 93664 h 4989984"/>
                <a:gd name="connsiteX7" fmla="*/ 1091 w 539055"/>
                <a:gd name="connsiteY7" fmla="*/ 21655 h 4989984"/>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147415 h 5115744"/>
                <a:gd name="connsiteX1" fmla="*/ 539055 w 539055"/>
                <a:gd name="connsiteY1" fmla="*/ 147415 h 5115744"/>
                <a:gd name="connsiteX2" fmla="*/ 539055 w 539055"/>
                <a:gd name="connsiteY2" fmla="*/ 5115744 h 5115744"/>
                <a:gd name="connsiteX3" fmla="*/ 1091 w 539055"/>
                <a:gd name="connsiteY3" fmla="*/ 5115744 h 5115744"/>
                <a:gd name="connsiteX4" fmla="*/ 0 w 539055"/>
                <a:gd name="connsiteY4" fmla="*/ 411163 h 5115744"/>
                <a:gd name="connsiteX5" fmla="*/ 361132 w 539055"/>
                <a:gd name="connsiteY5" fmla="*/ 293813 h 5115744"/>
                <a:gd name="connsiteX6" fmla="*/ 1092 w 539055"/>
                <a:gd name="connsiteY6" fmla="*/ 219424 h 5115744"/>
                <a:gd name="connsiteX7" fmla="*/ 1091 w 539055"/>
                <a:gd name="connsiteY7" fmla="*/ 147415 h 5115744"/>
                <a:gd name="connsiteX0" fmla="*/ 1091 w 539055"/>
                <a:gd name="connsiteY0" fmla="*/ 75407 h 5043736"/>
                <a:gd name="connsiteX1" fmla="*/ 539055 w 539055"/>
                <a:gd name="connsiteY1" fmla="*/ 75407 h 5043736"/>
                <a:gd name="connsiteX2" fmla="*/ 539055 w 539055"/>
                <a:gd name="connsiteY2" fmla="*/ 5043736 h 5043736"/>
                <a:gd name="connsiteX3" fmla="*/ 1091 w 539055"/>
                <a:gd name="connsiteY3" fmla="*/ 5043736 h 5043736"/>
                <a:gd name="connsiteX4" fmla="*/ 0 w 539055"/>
                <a:gd name="connsiteY4" fmla="*/ 339155 h 5043736"/>
                <a:gd name="connsiteX5" fmla="*/ 433140 w 539055"/>
                <a:gd name="connsiteY5" fmla="*/ 293813 h 5043736"/>
                <a:gd name="connsiteX6" fmla="*/ 1092 w 539055"/>
                <a:gd name="connsiteY6" fmla="*/ 147416 h 5043736"/>
                <a:gd name="connsiteX7" fmla="*/ 1091 w 539055"/>
                <a:gd name="connsiteY7" fmla="*/ 75407 h 5043736"/>
                <a:gd name="connsiteX0" fmla="*/ 1091 w 539055"/>
                <a:gd name="connsiteY0" fmla="*/ 75407 h 5043736"/>
                <a:gd name="connsiteX1" fmla="*/ 539055 w 539055"/>
                <a:gd name="connsiteY1" fmla="*/ 75407 h 5043736"/>
                <a:gd name="connsiteX2" fmla="*/ 539055 w 539055"/>
                <a:gd name="connsiteY2" fmla="*/ 5043736 h 5043736"/>
                <a:gd name="connsiteX3" fmla="*/ 1091 w 539055"/>
                <a:gd name="connsiteY3" fmla="*/ 5043736 h 5043736"/>
                <a:gd name="connsiteX4" fmla="*/ 0 w 539055"/>
                <a:gd name="connsiteY4" fmla="*/ 339155 h 5043736"/>
                <a:gd name="connsiteX5" fmla="*/ 361132 w 539055"/>
                <a:gd name="connsiteY5" fmla="*/ 293813 h 5043736"/>
                <a:gd name="connsiteX6" fmla="*/ 1092 w 539055"/>
                <a:gd name="connsiteY6" fmla="*/ 147416 h 5043736"/>
                <a:gd name="connsiteX7" fmla="*/ 1091 w 539055"/>
                <a:gd name="connsiteY7" fmla="*/ 75407 h 5043736"/>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89842 w 627806"/>
                <a:gd name="connsiteY0" fmla="*/ 109761 h 5695476"/>
                <a:gd name="connsiteX1" fmla="*/ 627806 w 627806"/>
                <a:gd name="connsiteY1" fmla="*/ 109761 h 5695476"/>
                <a:gd name="connsiteX2" fmla="*/ 627806 w 627806"/>
                <a:gd name="connsiteY2" fmla="*/ 5078090 h 5695476"/>
                <a:gd name="connsiteX3" fmla="*/ 89842 w 627806"/>
                <a:gd name="connsiteY3" fmla="*/ 5078090 h 5695476"/>
                <a:gd name="connsiteX4" fmla="*/ 88752 w 627806"/>
                <a:gd name="connsiteY4" fmla="*/ 4911379 h 5695476"/>
                <a:gd name="connsiteX5" fmla="*/ 88751 w 627806"/>
                <a:gd name="connsiteY5" fmla="*/ 373509 h 5695476"/>
                <a:gd name="connsiteX6" fmla="*/ 449883 w 627806"/>
                <a:gd name="connsiteY6" fmla="*/ 328167 h 5695476"/>
                <a:gd name="connsiteX7" fmla="*/ 89843 w 627806"/>
                <a:gd name="connsiteY7" fmla="*/ 184151 h 5695476"/>
                <a:gd name="connsiteX8" fmla="*/ 89842 w 627806"/>
                <a:gd name="connsiteY8" fmla="*/ 109761 h 5695476"/>
                <a:gd name="connsiteX0" fmla="*/ 61279 w 599243"/>
                <a:gd name="connsiteY0" fmla="*/ 109761 h 5078090"/>
                <a:gd name="connsiteX1" fmla="*/ 599243 w 599243"/>
                <a:gd name="connsiteY1" fmla="*/ 109761 h 5078090"/>
                <a:gd name="connsiteX2" fmla="*/ 599243 w 599243"/>
                <a:gd name="connsiteY2" fmla="*/ 5078090 h 5078090"/>
                <a:gd name="connsiteX3" fmla="*/ 61279 w 599243"/>
                <a:gd name="connsiteY3" fmla="*/ 5078090 h 5078090"/>
                <a:gd name="connsiteX4" fmla="*/ 60189 w 599243"/>
                <a:gd name="connsiteY4" fmla="*/ 4911379 h 5078090"/>
                <a:gd name="connsiteX5" fmla="*/ 60188 w 599243"/>
                <a:gd name="connsiteY5" fmla="*/ 373509 h 5078090"/>
                <a:gd name="connsiteX6" fmla="*/ 421320 w 599243"/>
                <a:gd name="connsiteY6" fmla="*/ 328167 h 5078090"/>
                <a:gd name="connsiteX7" fmla="*/ 61280 w 599243"/>
                <a:gd name="connsiteY7" fmla="*/ 184151 h 5078090"/>
                <a:gd name="connsiteX8" fmla="*/ 61279 w 599243"/>
                <a:gd name="connsiteY8" fmla="*/ 109761 h 5078090"/>
                <a:gd name="connsiteX0" fmla="*/ 61279 w 599243"/>
                <a:gd name="connsiteY0" fmla="*/ 109761 h 5078090"/>
                <a:gd name="connsiteX1" fmla="*/ 599243 w 599243"/>
                <a:gd name="connsiteY1" fmla="*/ 109761 h 5078090"/>
                <a:gd name="connsiteX2" fmla="*/ 599243 w 599243"/>
                <a:gd name="connsiteY2" fmla="*/ 5078090 h 5078090"/>
                <a:gd name="connsiteX3" fmla="*/ 61279 w 599243"/>
                <a:gd name="connsiteY3" fmla="*/ 5078090 h 5078090"/>
                <a:gd name="connsiteX4" fmla="*/ 61280 w 599243"/>
                <a:gd name="connsiteY4" fmla="*/ 4936679 h 5078090"/>
                <a:gd name="connsiteX5" fmla="*/ 60188 w 599243"/>
                <a:gd name="connsiteY5" fmla="*/ 373509 h 5078090"/>
                <a:gd name="connsiteX6" fmla="*/ 421320 w 599243"/>
                <a:gd name="connsiteY6" fmla="*/ 328167 h 5078090"/>
                <a:gd name="connsiteX7" fmla="*/ 61280 w 599243"/>
                <a:gd name="connsiteY7" fmla="*/ 184151 h 5078090"/>
                <a:gd name="connsiteX8" fmla="*/ 61279 w 599243"/>
                <a:gd name="connsiteY8" fmla="*/ 109761 h 5078090"/>
                <a:gd name="connsiteX0" fmla="*/ 60486 w 598450"/>
                <a:gd name="connsiteY0" fmla="*/ 109761 h 5567132"/>
                <a:gd name="connsiteX1" fmla="*/ 598450 w 598450"/>
                <a:gd name="connsiteY1" fmla="*/ 109761 h 5567132"/>
                <a:gd name="connsiteX2" fmla="*/ 598450 w 598450"/>
                <a:gd name="connsiteY2" fmla="*/ 5078090 h 5567132"/>
                <a:gd name="connsiteX3" fmla="*/ 60486 w 598450"/>
                <a:gd name="connsiteY3" fmla="*/ 5078090 h 5567132"/>
                <a:gd name="connsiteX4" fmla="*/ 60487 w 598450"/>
                <a:gd name="connsiteY4" fmla="*/ 4936679 h 5567132"/>
                <a:gd name="connsiteX5" fmla="*/ 64159 w 598450"/>
                <a:gd name="connsiteY5" fmla="*/ 4806604 h 5567132"/>
                <a:gd name="connsiteX6" fmla="*/ 59395 w 598450"/>
                <a:gd name="connsiteY6" fmla="*/ 373509 h 5567132"/>
                <a:gd name="connsiteX7" fmla="*/ 420527 w 598450"/>
                <a:gd name="connsiteY7" fmla="*/ 328167 h 5567132"/>
                <a:gd name="connsiteX8" fmla="*/ 60487 w 598450"/>
                <a:gd name="connsiteY8" fmla="*/ 184151 h 5567132"/>
                <a:gd name="connsiteX9" fmla="*/ 60486 w 598450"/>
                <a:gd name="connsiteY9" fmla="*/ 109761 h 5567132"/>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7 w 598450"/>
                <a:gd name="connsiteY4" fmla="*/ 4936679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6 w 598450"/>
                <a:gd name="connsiteY4" fmla="*/ 4936679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6 w 598450"/>
                <a:gd name="connsiteY4" fmla="*/ 4864671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89842 w 627806"/>
                <a:gd name="connsiteY0" fmla="*/ 109761 h 5078090"/>
                <a:gd name="connsiteX1" fmla="*/ 627806 w 627806"/>
                <a:gd name="connsiteY1" fmla="*/ 109761 h 5078090"/>
                <a:gd name="connsiteX2" fmla="*/ 627806 w 627806"/>
                <a:gd name="connsiteY2" fmla="*/ 5078090 h 5078090"/>
                <a:gd name="connsiteX3" fmla="*/ 89842 w 627806"/>
                <a:gd name="connsiteY3" fmla="*/ 5078090 h 5078090"/>
                <a:gd name="connsiteX4" fmla="*/ 88751 w 627806"/>
                <a:gd name="connsiteY4" fmla="*/ 4997104 h 5078090"/>
                <a:gd name="connsiteX5" fmla="*/ 89842 w 627806"/>
                <a:gd name="connsiteY5" fmla="*/ 4864671 h 5078090"/>
                <a:gd name="connsiteX6" fmla="*/ 93515 w 627806"/>
                <a:gd name="connsiteY6" fmla="*/ 4806604 h 5078090"/>
                <a:gd name="connsiteX7" fmla="*/ 88751 w 627806"/>
                <a:gd name="connsiteY7" fmla="*/ 373509 h 5078090"/>
                <a:gd name="connsiteX8" fmla="*/ 449883 w 627806"/>
                <a:gd name="connsiteY8" fmla="*/ 328167 h 5078090"/>
                <a:gd name="connsiteX9" fmla="*/ 89843 w 627806"/>
                <a:gd name="connsiteY9" fmla="*/ 184151 h 5078090"/>
                <a:gd name="connsiteX10" fmla="*/ 89842 w 627806"/>
                <a:gd name="connsiteY10"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59395 w 598450"/>
                <a:gd name="connsiteY4" fmla="*/ 4997104 h 5078090"/>
                <a:gd name="connsiteX5" fmla="*/ 60486 w 598450"/>
                <a:gd name="connsiteY5" fmla="*/ 4864671 h 5078090"/>
                <a:gd name="connsiteX6" fmla="*/ 64159 w 598450"/>
                <a:gd name="connsiteY6" fmla="*/ 4806604 h 5078090"/>
                <a:gd name="connsiteX7" fmla="*/ 59395 w 598450"/>
                <a:gd name="connsiteY7" fmla="*/ 373509 h 5078090"/>
                <a:gd name="connsiteX8" fmla="*/ 420527 w 598450"/>
                <a:gd name="connsiteY8" fmla="*/ 328167 h 5078090"/>
                <a:gd name="connsiteX9" fmla="*/ 60487 w 598450"/>
                <a:gd name="connsiteY9" fmla="*/ 184151 h 5078090"/>
                <a:gd name="connsiteX10" fmla="*/ 60486 w 598450"/>
                <a:gd name="connsiteY10"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59395 w 598450"/>
                <a:gd name="connsiteY4" fmla="*/ 4997104 h 5078090"/>
                <a:gd name="connsiteX5" fmla="*/ 60486 w 598450"/>
                <a:gd name="connsiteY5" fmla="*/ 4864671 h 5078090"/>
                <a:gd name="connsiteX6" fmla="*/ 64159 w 598450"/>
                <a:gd name="connsiteY6" fmla="*/ 4806604 h 5078090"/>
                <a:gd name="connsiteX7" fmla="*/ 59395 w 598450"/>
                <a:gd name="connsiteY7" fmla="*/ 373509 h 5078090"/>
                <a:gd name="connsiteX8" fmla="*/ 420527 w 598450"/>
                <a:gd name="connsiteY8" fmla="*/ 328167 h 5078090"/>
                <a:gd name="connsiteX9" fmla="*/ 60487 w 598450"/>
                <a:gd name="connsiteY9" fmla="*/ 184151 h 5078090"/>
                <a:gd name="connsiteX10" fmla="*/ 60486 w 598450"/>
                <a:gd name="connsiteY10" fmla="*/ 109761 h 5078090"/>
                <a:gd name="connsiteX0" fmla="*/ 60486 w 598450"/>
                <a:gd name="connsiteY0" fmla="*/ 109761 h 5577203"/>
                <a:gd name="connsiteX1" fmla="*/ 598450 w 598450"/>
                <a:gd name="connsiteY1" fmla="*/ 109761 h 5577203"/>
                <a:gd name="connsiteX2" fmla="*/ 598450 w 598450"/>
                <a:gd name="connsiteY2" fmla="*/ 5078090 h 5577203"/>
                <a:gd name="connsiteX3" fmla="*/ 60486 w 598450"/>
                <a:gd name="connsiteY3" fmla="*/ 5078090 h 5577203"/>
                <a:gd name="connsiteX4" fmla="*/ 59395 w 598450"/>
                <a:gd name="connsiteY4" fmla="*/ 4997104 h 5577203"/>
                <a:gd name="connsiteX5" fmla="*/ 64159 w 598450"/>
                <a:gd name="connsiteY5" fmla="*/ 4806604 h 5577203"/>
                <a:gd name="connsiteX6" fmla="*/ 59395 w 598450"/>
                <a:gd name="connsiteY6" fmla="*/ 373509 h 5577203"/>
                <a:gd name="connsiteX7" fmla="*/ 420527 w 598450"/>
                <a:gd name="connsiteY7" fmla="*/ 328167 h 5577203"/>
                <a:gd name="connsiteX8" fmla="*/ 60487 w 598450"/>
                <a:gd name="connsiteY8" fmla="*/ 184151 h 5577203"/>
                <a:gd name="connsiteX9" fmla="*/ 60486 w 598450"/>
                <a:gd name="connsiteY9" fmla="*/ 109761 h 5577203"/>
                <a:gd name="connsiteX0" fmla="*/ 64159 w 598450"/>
                <a:gd name="connsiteY0" fmla="*/ 4806604 h 5088544"/>
                <a:gd name="connsiteX1" fmla="*/ 59395 w 598450"/>
                <a:gd name="connsiteY1" fmla="*/ 373509 h 5088544"/>
                <a:gd name="connsiteX2" fmla="*/ 420527 w 598450"/>
                <a:gd name="connsiteY2" fmla="*/ 328167 h 5088544"/>
                <a:gd name="connsiteX3" fmla="*/ 60487 w 598450"/>
                <a:gd name="connsiteY3" fmla="*/ 184151 h 5088544"/>
                <a:gd name="connsiteX4" fmla="*/ 60486 w 598450"/>
                <a:gd name="connsiteY4" fmla="*/ 109761 h 5088544"/>
                <a:gd name="connsiteX5" fmla="*/ 598450 w 598450"/>
                <a:gd name="connsiteY5" fmla="*/ 109761 h 5088544"/>
                <a:gd name="connsiteX6" fmla="*/ 598450 w 598450"/>
                <a:gd name="connsiteY6" fmla="*/ 5078090 h 5088544"/>
                <a:gd name="connsiteX7" fmla="*/ 60486 w 598450"/>
                <a:gd name="connsiteY7" fmla="*/ 5078090 h 5088544"/>
                <a:gd name="connsiteX8" fmla="*/ 150835 w 598450"/>
                <a:gd name="connsiteY8" fmla="*/ 5088544 h 5088544"/>
                <a:gd name="connsiteX0" fmla="*/ 64159 w 598450"/>
                <a:gd name="connsiteY0" fmla="*/ 4806604 h 5078090"/>
                <a:gd name="connsiteX1" fmla="*/ 59395 w 598450"/>
                <a:gd name="connsiteY1" fmla="*/ 373509 h 5078090"/>
                <a:gd name="connsiteX2" fmla="*/ 420527 w 598450"/>
                <a:gd name="connsiteY2" fmla="*/ 328167 h 5078090"/>
                <a:gd name="connsiteX3" fmla="*/ 60487 w 598450"/>
                <a:gd name="connsiteY3" fmla="*/ 184151 h 5078090"/>
                <a:gd name="connsiteX4" fmla="*/ 60486 w 598450"/>
                <a:gd name="connsiteY4" fmla="*/ 109761 h 5078090"/>
                <a:gd name="connsiteX5" fmla="*/ 598450 w 598450"/>
                <a:gd name="connsiteY5" fmla="*/ 109761 h 5078090"/>
                <a:gd name="connsiteX6" fmla="*/ 598450 w 598450"/>
                <a:gd name="connsiteY6" fmla="*/ 5078090 h 5078090"/>
                <a:gd name="connsiteX7" fmla="*/ 60486 w 598450"/>
                <a:gd name="connsiteY7" fmla="*/ 5078090 h 5078090"/>
                <a:gd name="connsiteX0" fmla="*/ 60486 w 598450"/>
                <a:gd name="connsiteY0" fmla="*/ 4720655 h 5078090"/>
                <a:gd name="connsiteX1" fmla="*/ 59395 w 598450"/>
                <a:gd name="connsiteY1" fmla="*/ 373509 h 5078090"/>
                <a:gd name="connsiteX2" fmla="*/ 420527 w 598450"/>
                <a:gd name="connsiteY2" fmla="*/ 328167 h 5078090"/>
                <a:gd name="connsiteX3" fmla="*/ 60487 w 598450"/>
                <a:gd name="connsiteY3" fmla="*/ 184151 h 5078090"/>
                <a:gd name="connsiteX4" fmla="*/ 60486 w 598450"/>
                <a:gd name="connsiteY4" fmla="*/ 109761 h 5078090"/>
                <a:gd name="connsiteX5" fmla="*/ 598450 w 598450"/>
                <a:gd name="connsiteY5" fmla="*/ 109761 h 5078090"/>
                <a:gd name="connsiteX6" fmla="*/ 598450 w 598450"/>
                <a:gd name="connsiteY6" fmla="*/ 5078090 h 5078090"/>
                <a:gd name="connsiteX7" fmla="*/ 60486 w 598450"/>
                <a:gd name="connsiteY7" fmla="*/ 5078090 h 5078090"/>
                <a:gd name="connsiteX0" fmla="*/ 60486 w 598450"/>
                <a:gd name="connsiteY0" fmla="*/ 5080695 h 5080695"/>
                <a:gd name="connsiteX1" fmla="*/ 59395 w 598450"/>
                <a:gd name="connsiteY1" fmla="*/ 373509 h 5080695"/>
                <a:gd name="connsiteX2" fmla="*/ 420527 w 598450"/>
                <a:gd name="connsiteY2" fmla="*/ 328167 h 5080695"/>
                <a:gd name="connsiteX3" fmla="*/ 60487 w 598450"/>
                <a:gd name="connsiteY3" fmla="*/ 184151 h 5080695"/>
                <a:gd name="connsiteX4" fmla="*/ 60486 w 598450"/>
                <a:gd name="connsiteY4" fmla="*/ 109761 h 5080695"/>
                <a:gd name="connsiteX5" fmla="*/ 598450 w 598450"/>
                <a:gd name="connsiteY5" fmla="*/ 109761 h 5080695"/>
                <a:gd name="connsiteX6" fmla="*/ 598450 w 598450"/>
                <a:gd name="connsiteY6" fmla="*/ 5078090 h 5080695"/>
                <a:gd name="connsiteX7" fmla="*/ 60486 w 598450"/>
                <a:gd name="connsiteY7" fmla="*/ 5078090 h 5080695"/>
                <a:gd name="connsiteX0" fmla="*/ 62073 w 600037"/>
                <a:gd name="connsiteY0" fmla="*/ 5080695 h 5567322"/>
                <a:gd name="connsiteX1" fmla="*/ 56220 w 600037"/>
                <a:gd name="connsiteY1" fmla="*/ 4782791 h 5567322"/>
                <a:gd name="connsiteX2" fmla="*/ 60982 w 600037"/>
                <a:gd name="connsiteY2" fmla="*/ 373509 h 5567322"/>
                <a:gd name="connsiteX3" fmla="*/ 422114 w 600037"/>
                <a:gd name="connsiteY3" fmla="*/ 328167 h 5567322"/>
                <a:gd name="connsiteX4" fmla="*/ 62074 w 600037"/>
                <a:gd name="connsiteY4" fmla="*/ 184151 h 5567322"/>
                <a:gd name="connsiteX5" fmla="*/ 62073 w 600037"/>
                <a:gd name="connsiteY5" fmla="*/ 109761 h 5567322"/>
                <a:gd name="connsiteX6" fmla="*/ 600037 w 600037"/>
                <a:gd name="connsiteY6" fmla="*/ 109761 h 5567322"/>
                <a:gd name="connsiteX7" fmla="*/ 600037 w 600037"/>
                <a:gd name="connsiteY7" fmla="*/ 5078090 h 5567322"/>
                <a:gd name="connsiteX8" fmla="*/ 62073 w 600037"/>
                <a:gd name="connsiteY8" fmla="*/ 5078090 h 5567322"/>
                <a:gd name="connsiteX0" fmla="*/ 62073 w 600037"/>
                <a:gd name="connsiteY0" fmla="*/ 5080695 h 5080695"/>
                <a:gd name="connsiteX1" fmla="*/ 56220 w 600037"/>
                <a:gd name="connsiteY1" fmla="*/ 4782791 h 5080695"/>
                <a:gd name="connsiteX2" fmla="*/ 60982 w 600037"/>
                <a:gd name="connsiteY2" fmla="*/ 373509 h 5080695"/>
                <a:gd name="connsiteX3" fmla="*/ 422114 w 600037"/>
                <a:gd name="connsiteY3" fmla="*/ 328167 h 5080695"/>
                <a:gd name="connsiteX4" fmla="*/ 62074 w 600037"/>
                <a:gd name="connsiteY4" fmla="*/ 184151 h 5080695"/>
                <a:gd name="connsiteX5" fmla="*/ 62073 w 600037"/>
                <a:gd name="connsiteY5" fmla="*/ 109761 h 5080695"/>
                <a:gd name="connsiteX6" fmla="*/ 600037 w 600037"/>
                <a:gd name="connsiteY6" fmla="*/ 109761 h 5080695"/>
                <a:gd name="connsiteX7" fmla="*/ 600037 w 600037"/>
                <a:gd name="connsiteY7" fmla="*/ 5078090 h 5080695"/>
                <a:gd name="connsiteX8" fmla="*/ 62073 w 600037"/>
                <a:gd name="connsiteY8" fmla="*/ 5078090 h 5080695"/>
                <a:gd name="connsiteX0" fmla="*/ 62073 w 600037"/>
                <a:gd name="connsiteY0" fmla="*/ 5080695 h 5080695"/>
                <a:gd name="connsiteX1" fmla="*/ 51458 w 600037"/>
                <a:gd name="connsiteY1" fmla="*/ 4901854 h 5080695"/>
                <a:gd name="connsiteX2" fmla="*/ 56220 w 600037"/>
                <a:gd name="connsiteY2" fmla="*/ 4782791 h 5080695"/>
                <a:gd name="connsiteX3" fmla="*/ 60982 w 600037"/>
                <a:gd name="connsiteY3" fmla="*/ 373509 h 5080695"/>
                <a:gd name="connsiteX4" fmla="*/ 422114 w 600037"/>
                <a:gd name="connsiteY4" fmla="*/ 328167 h 5080695"/>
                <a:gd name="connsiteX5" fmla="*/ 62074 w 600037"/>
                <a:gd name="connsiteY5" fmla="*/ 184151 h 5080695"/>
                <a:gd name="connsiteX6" fmla="*/ 62073 w 600037"/>
                <a:gd name="connsiteY6" fmla="*/ 109761 h 5080695"/>
                <a:gd name="connsiteX7" fmla="*/ 600037 w 600037"/>
                <a:gd name="connsiteY7" fmla="*/ 109761 h 5080695"/>
                <a:gd name="connsiteX8" fmla="*/ 600037 w 600037"/>
                <a:gd name="connsiteY8" fmla="*/ 5078090 h 5080695"/>
                <a:gd name="connsiteX9" fmla="*/ 62073 w 600037"/>
                <a:gd name="connsiteY9" fmla="*/ 5078090 h 5080695"/>
                <a:gd name="connsiteX0" fmla="*/ 62073 w 600037"/>
                <a:gd name="connsiteY0" fmla="*/ 5080695 h 5080695"/>
                <a:gd name="connsiteX1" fmla="*/ 51458 w 600037"/>
                <a:gd name="connsiteY1" fmla="*/ 5020916 h 5080695"/>
                <a:gd name="connsiteX2" fmla="*/ 51458 w 600037"/>
                <a:gd name="connsiteY2" fmla="*/ 4901854 h 5080695"/>
                <a:gd name="connsiteX3" fmla="*/ 56220 w 600037"/>
                <a:gd name="connsiteY3" fmla="*/ 4782791 h 5080695"/>
                <a:gd name="connsiteX4" fmla="*/ 60982 w 600037"/>
                <a:gd name="connsiteY4" fmla="*/ 373509 h 5080695"/>
                <a:gd name="connsiteX5" fmla="*/ 422114 w 600037"/>
                <a:gd name="connsiteY5" fmla="*/ 328167 h 5080695"/>
                <a:gd name="connsiteX6" fmla="*/ 62074 w 600037"/>
                <a:gd name="connsiteY6" fmla="*/ 184151 h 5080695"/>
                <a:gd name="connsiteX7" fmla="*/ 62073 w 600037"/>
                <a:gd name="connsiteY7" fmla="*/ 109761 h 5080695"/>
                <a:gd name="connsiteX8" fmla="*/ 600037 w 600037"/>
                <a:gd name="connsiteY8" fmla="*/ 109761 h 5080695"/>
                <a:gd name="connsiteX9" fmla="*/ 600037 w 600037"/>
                <a:gd name="connsiteY9" fmla="*/ 5078090 h 5080695"/>
                <a:gd name="connsiteX10" fmla="*/ 62073 w 600037"/>
                <a:gd name="connsiteY10" fmla="*/ 5078090 h 5080695"/>
                <a:gd name="connsiteX0" fmla="*/ 432047 w 970011"/>
                <a:gd name="connsiteY0" fmla="*/ 5080695 h 5080695"/>
                <a:gd name="connsiteX1" fmla="*/ 421432 w 970011"/>
                <a:gd name="connsiteY1" fmla="*/ 5020916 h 5080695"/>
                <a:gd name="connsiteX2" fmla="*/ 0 w 970011"/>
                <a:gd name="connsiteY2" fmla="*/ 4936679 h 5080695"/>
                <a:gd name="connsiteX3" fmla="*/ 426194 w 970011"/>
                <a:gd name="connsiteY3" fmla="*/ 4782791 h 5080695"/>
                <a:gd name="connsiteX4" fmla="*/ 430956 w 970011"/>
                <a:gd name="connsiteY4" fmla="*/ 373509 h 5080695"/>
                <a:gd name="connsiteX5" fmla="*/ 792088 w 970011"/>
                <a:gd name="connsiteY5" fmla="*/ 328167 h 5080695"/>
                <a:gd name="connsiteX6" fmla="*/ 432048 w 970011"/>
                <a:gd name="connsiteY6" fmla="*/ 184151 h 5080695"/>
                <a:gd name="connsiteX7" fmla="*/ 432047 w 970011"/>
                <a:gd name="connsiteY7" fmla="*/ 109761 h 5080695"/>
                <a:gd name="connsiteX8" fmla="*/ 970011 w 970011"/>
                <a:gd name="connsiteY8" fmla="*/ 109761 h 5080695"/>
                <a:gd name="connsiteX9" fmla="*/ 970011 w 970011"/>
                <a:gd name="connsiteY9" fmla="*/ 5078090 h 5080695"/>
                <a:gd name="connsiteX10" fmla="*/ 432047 w 970011"/>
                <a:gd name="connsiteY10" fmla="*/ 5078090 h 5080695"/>
                <a:gd name="connsiteX0" fmla="*/ 432047 w 970011"/>
                <a:gd name="connsiteY0" fmla="*/ 5080695 h 5080695"/>
                <a:gd name="connsiteX1" fmla="*/ 421432 w 970011"/>
                <a:gd name="connsiteY1" fmla="*/ 5020916 h 5080695"/>
                <a:gd name="connsiteX2" fmla="*/ 0 w 970011"/>
                <a:gd name="connsiteY2" fmla="*/ 4936679 h 5080695"/>
                <a:gd name="connsiteX3" fmla="*/ 426194 w 970011"/>
                <a:gd name="connsiteY3" fmla="*/ 4782791 h 5080695"/>
                <a:gd name="connsiteX4" fmla="*/ 430956 w 970011"/>
                <a:gd name="connsiteY4" fmla="*/ 373509 h 5080695"/>
                <a:gd name="connsiteX5" fmla="*/ 792088 w 970011"/>
                <a:gd name="connsiteY5" fmla="*/ 328167 h 5080695"/>
                <a:gd name="connsiteX6" fmla="*/ 432048 w 970011"/>
                <a:gd name="connsiteY6" fmla="*/ 184151 h 5080695"/>
                <a:gd name="connsiteX7" fmla="*/ 432047 w 970011"/>
                <a:gd name="connsiteY7" fmla="*/ 109761 h 5080695"/>
                <a:gd name="connsiteX8" fmla="*/ 970011 w 970011"/>
                <a:gd name="connsiteY8" fmla="*/ 109761 h 5080695"/>
                <a:gd name="connsiteX9" fmla="*/ 970011 w 970011"/>
                <a:gd name="connsiteY9" fmla="*/ 5078090 h 5080695"/>
                <a:gd name="connsiteX10" fmla="*/ 432047 w 970011"/>
                <a:gd name="connsiteY10" fmla="*/ 5078090 h 5080695"/>
                <a:gd name="connsiteX0" fmla="*/ 432047 w 970011"/>
                <a:gd name="connsiteY0" fmla="*/ 5080695 h 5334745"/>
                <a:gd name="connsiteX1" fmla="*/ 421432 w 970011"/>
                <a:gd name="connsiteY1" fmla="*/ 5020916 h 5334745"/>
                <a:gd name="connsiteX2" fmla="*/ 0 w 970011"/>
                <a:gd name="connsiteY2" fmla="*/ 4936679 h 5334745"/>
                <a:gd name="connsiteX3" fmla="*/ 426194 w 970011"/>
                <a:gd name="connsiteY3" fmla="*/ 4782791 h 5334745"/>
                <a:gd name="connsiteX4" fmla="*/ 430956 w 970011"/>
                <a:gd name="connsiteY4" fmla="*/ 373509 h 5334745"/>
                <a:gd name="connsiteX5" fmla="*/ 792088 w 970011"/>
                <a:gd name="connsiteY5" fmla="*/ 328167 h 5334745"/>
                <a:gd name="connsiteX6" fmla="*/ 432048 w 970011"/>
                <a:gd name="connsiteY6" fmla="*/ 184151 h 5334745"/>
                <a:gd name="connsiteX7" fmla="*/ 432047 w 970011"/>
                <a:gd name="connsiteY7" fmla="*/ 109761 h 5334745"/>
                <a:gd name="connsiteX8" fmla="*/ 970011 w 970011"/>
                <a:gd name="connsiteY8" fmla="*/ 109761 h 5334745"/>
                <a:gd name="connsiteX9" fmla="*/ 970011 w 970011"/>
                <a:gd name="connsiteY9" fmla="*/ 5078090 h 5334745"/>
                <a:gd name="connsiteX10" fmla="*/ 432047 w 970011"/>
                <a:gd name="connsiteY10" fmla="*/ 5078090 h 5334745"/>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191722"/>
                <a:gd name="connsiteX1" fmla="*/ 421432 w 970011"/>
                <a:gd name="connsiteY1" fmla="*/ 5020916 h 5191722"/>
                <a:gd name="connsiteX2" fmla="*/ 0 w 970011"/>
                <a:gd name="connsiteY2" fmla="*/ 4864671 h 5191722"/>
                <a:gd name="connsiteX3" fmla="*/ 426194 w 970011"/>
                <a:gd name="connsiteY3" fmla="*/ 4782791 h 5191722"/>
                <a:gd name="connsiteX4" fmla="*/ 430956 w 970011"/>
                <a:gd name="connsiteY4" fmla="*/ 373509 h 5191722"/>
                <a:gd name="connsiteX5" fmla="*/ 792088 w 970011"/>
                <a:gd name="connsiteY5" fmla="*/ 328167 h 5191722"/>
                <a:gd name="connsiteX6" fmla="*/ 432048 w 970011"/>
                <a:gd name="connsiteY6" fmla="*/ 184151 h 5191722"/>
                <a:gd name="connsiteX7" fmla="*/ 432047 w 970011"/>
                <a:gd name="connsiteY7" fmla="*/ 109761 h 5191722"/>
                <a:gd name="connsiteX8" fmla="*/ 970011 w 970011"/>
                <a:gd name="connsiteY8" fmla="*/ 109761 h 5191722"/>
                <a:gd name="connsiteX9" fmla="*/ 970011 w 970011"/>
                <a:gd name="connsiteY9" fmla="*/ 5078090 h 5191722"/>
                <a:gd name="connsiteX10" fmla="*/ 432047 w 970011"/>
                <a:gd name="connsiteY10" fmla="*/ 5078090 h 5191722"/>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16527"/>
                <a:gd name="connsiteX1" fmla="*/ 421432 w 970011"/>
                <a:gd name="connsiteY1" fmla="*/ 5020916 h 5216527"/>
                <a:gd name="connsiteX2" fmla="*/ 0 w 970011"/>
                <a:gd name="connsiteY2" fmla="*/ 4936679 h 5216527"/>
                <a:gd name="connsiteX3" fmla="*/ 426194 w 970011"/>
                <a:gd name="connsiteY3" fmla="*/ 4782791 h 5216527"/>
                <a:gd name="connsiteX4" fmla="*/ 430956 w 970011"/>
                <a:gd name="connsiteY4" fmla="*/ 373509 h 5216527"/>
                <a:gd name="connsiteX5" fmla="*/ 792088 w 970011"/>
                <a:gd name="connsiteY5" fmla="*/ 328167 h 5216527"/>
                <a:gd name="connsiteX6" fmla="*/ 432048 w 970011"/>
                <a:gd name="connsiteY6" fmla="*/ 184151 h 5216527"/>
                <a:gd name="connsiteX7" fmla="*/ 432047 w 970011"/>
                <a:gd name="connsiteY7" fmla="*/ 109761 h 5216527"/>
                <a:gd name="connsiteX8" fmla="*/ 970011 w 970011"/>
                <a:gd name="connsiteY8" fmla="*/ 109761 h 5216527"/>
                <a:gd name="connsiteX9" fmla="*/ 970011 w 970011"/>
                <a:gd name="connsiteY9" fmla="*/ 5078090 h 5216527"/>
                <a:gd name="connsiteX10" fmla="*/ 432047 w 970011"/>
                <a:gd name="connsiteY10" fmla="*/ 5078090 h 5216527"/>
                <a:gd name="connsiteX0" fmla="*/ 360039 w 898003"/>
                <a:gd name="connsiteY0" fmla="*/ 5080695 h 5216528"/>
                <a:gd name="connsiteX1" fmla="*/ 349424 w 898003"/>
                <a:gd name="connsiteY1" fmla="*/ 5020916 h 5216528"/>
                <a:gd name="connsiteX2" fmla="*/ 0 w 898003"/>
                <a:gd name="connsiteY2" fmla="*/ 4936680 h 5216528"/>
                <a:gd name="connsiteX3" fmla="*/ 354186 w 898003"/>
                <a:gd name="connsiteY3" fmla="*/ 4782791 h 5216528"/>
                <a:gd name="connsiteX4" fmla="*/ 358948 w 898003"/>
                <a:gd name="connsiteY4" fmla="*/ 373509 h 5216528"/>
                <a:gd name="connsiteX5" fmla="*/ 720080 w 898003"/>
                <a:gd name="connsiteY5" fmla="*/ 328167 h 5216528"/>
                <a:gd name="connsiteX6" fmla="*/ 360040 w 898003"/>
                <a:gd name="connsiteY6" fmla="*/ 184151 h 5216528"/>
                <a:gd name="connsiteX7" fmla="*/ 360039 w 898003"/>
                <a:gd name="connsiteY7" fmla="*/ 109761 h 5216528"/>
                <a:gd name="connsiteX8" fmla="*/ 898003 w 898003"/>
                <a:gd name="connsiteY8" fmla="*/ 109761 h 5216528"/>
                <a:gd name="connsiteX9" fmla="*/ 898003 w 898003"/>
                <a:gd name="connsiteY9" fmla="*/ 5078090 h 5216528"/>
                <a:gd name="connsiteX10" fmla="*/ 360039 w 898003"/>
                <a:gd name="connsiteY10" fmla="*/ 5078090 h 521652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93568 w 931532"/>
                <a:gd name="connsiteY0" fmla="*/ 5080695 h 5186088"/>
                <a:gd name="connsiteX1" fmla="*/ 382953 w 931532"/>
                <a:gd name="connsiteY1" fmla="*/ 5020916 h 5186088"/>
                <a:gd name="connsiteX2" fmla="*/ 33529 w 931532"/>
                <a:gd name="connsiteY2" fmla="*/ 4936680 h 5186088"/>
                <a:gd name="connsiteX3" fmla="*/ 387715 w 931532"/>
                <a:gd name="connsiteY3" fmla="*/ 4782791 h 5186088"/>
                <a:gd name="connsiteX4" fmla="*/ 392477 w 931532"/>
                <a:gd name="connsiteY4" fmla="*/ 373509 h 5186088"/>
                <a:gd name="connsiteX5" fmla="*/ 753609 w 931532"/>
                <a:gd name="connsiteY5" fmla="*/ 328167 h 5186088"/>
                <a:gd name="connsiteX6" fmla="*/ 393569 w 931532"/>
                <a:gd name="connsiteY6" fmla="*/ 184151 h 5186088"/>
                <a:gd name="connsiteX7" fmla="*/ 393568 w 931532"/>
                <a:gd name="connsiteY7" fmla="*/ 109761 h 5186088"/>
                <a:gd name="connsiteX8" fmla="*/ 931532 w 931532"/>
                <a:gd name="connsiteY8" fmla="*/ 109761 h 5186088"/>
                <a:gd name="connsiteX9" fmla="*/ 931532 w 931532"/>
                <a:gd name="connsiteY9" fmla="*/ 5078090 h 5186088"/>
                <a:gd name="connsiteX10" fmla="*/ 393568 w 931532"/>
                <a:gd name="connsiteY10" fmla="*/ 5078090 h 518608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60039 w 898003"/>
                <a:gd name="connsiteY0" fmla="*/ 5080695 h 5186087"/>
                <a:gd name="connsiteX1" fmla="*/ 349424 w 898003"/>
                <a:gd name="connsiteY1" fmla="*/ 5020916 h 5186087"/>
                <a:gd name="connsiteX2" fmla="*/ 0 w 898003"/>
                <a:gd name="connsiteY2" fmla="*/ 4936679 h 5186087"/>
                <a:gd name="connsiteX3" fmla="*/ 354186 w 898003"/>
                <a:gd name="connsiteY3" fmla="*/ 4782791 h 5186087"/>
                <a:gd name="connsiteX4" fmla="*/ 358948 w 898003"/>
                <a:gd name="connsiteY4" fmla="*/ 373509 h 5186087"/>
                <a:gd name="connsiteX5" fmla="*/ 720080 w 898003"/>
                <a:gd name="connsiteY5" fmla="*/ 328167 h 5186087"/>
                <a:gd name="connsiteX6" fmla="*/ 360040 w 898003"/>
                <a:gd name="connsiteY6" fmla="*/ 184151 h 5186087"/>
                <a:gd name="connsiteX7" fmla="*/ 360039 w 898003"/>
                <a:gd name="connsiteY7" fmla="*/ 109761 h 5186087"/>
                <a:gd name="connsiteX8" fmla="*/ 898003 w 898003"/>
                <a:gd name="connsiteY8" fmla="*/ 109761 h 5186087"/>
                <a:gd name="connsiteX9" fmla="*/ 898003 w 898003"/>
                <a:gd name="connsiteY9" fmla="*/ 5078090 h 5186087"/>
                <a:gd name="connsiteX10" fmla="*/ 360039 w 898003"/>
                <a:gd name="connsiteY10" fmla="*/ 5078090 h 5186087"/>
                <a:gd name="connsiteX0" fmla="*/ 404316 w 942280"/>
                <a:gd name="connsiteY0" fmla="*/ 5080695 h 5186088"/>
                <a:gd name="connsiteX1" fmla="*/ 393701 w 942280"/>
                <a:gd name="connsiteY1" fmla="*/ 5020916 h 5186088"/>
                <a:gd name="connsiteX2" fmla="*/ 0 w 942280"/>
                <a:gd name="connsiteY2" fmla="*/ 4936680 h 5186088"/>
                <a:gd name="connsiteX3" fmla="*/ 398463 w 942280"/>
                <a:gd name="connsiteY3" fmla="*/ 4782791 h 5186088"/>
                <a:gd name="connsiteX4" fmla="*/ 403225 w 942280"/>
                <a:gd name="connsiteY4" fmla="*/ 373509 h 5186088"/>
                <a:gd name="connsiteX5" fmla="*/ 764357 w 942280"/>
                <a:gd name="connsiteY5" fmla="*/ 328167 h 5186088"/>
                <a:gd name="connsiteX6" fmla="*/ 404317 w 942280"/>
                <a:gd name="connsiteY6" fmla="*/ 184151 h 5186088"/>
                <a:gd name="connsiteX7" fmla="*/ 404316 w 942280"/>
                <a:gd name="connsiteY7" fmla="*/ 109761 h 5186088"/>
                <a:gd name="connsiteX8" fmla="*/ 942280 w 942280"/>
                <a:gd name="connsiteY8" fmla="*/ 109761 h 5186088"/>
                <a:gd name="connsiteX9" fmla="*/ 942280 w 942280"/>
                <a:gd name="connsiteY9" fmla="*/ 5078090 h 5186088"/>
                <a:gd name="connsiteX10" fmla="*/ 404316 w 942280"/>
                <a:gd name="connsiteY10" fmla="*/ 5078090 h 5186088"/>
                <a:gd name="connsiteX0" fmla="*/ 404316 w 942280"/>
                <a:gd name="connsiteY0" fmla="*/ 5080695 h 5186088"/>
                <a:gd name="connsiteX1" fmla="*/ 393701 w 942280"/>
                <a:gd name="connsiteY1" fmla="*/ 5020916 h 5186088"/>
                <a:gd name="connsiteX2" fmla="*/ 0 w 942280"/>
                <a:gd name="connsiteY2" fmla="*/ 4936680 h 5186088"/>
                <a:gd name="connsiteX3" fmla="*/ 398463 w 942280"/>
                <a:gd name="connsiteY3" fmla="*/ 4782791 h 5186088"/>
                <a:gd name="connsiteX4" fmla="*/ 403225 w 942280"/>
                <a:gd name="connsiteY4" fmla="*/ 373509 h 5186088"/>
                <a:gd name="connsiteX5" fmla="*/ 764357 w 942280"/>
                <a:gd name="connsiteY5" fmla="*/ 328167 h 5186088"/>
                <a:gd name="connsiteX6" fmla="*/ 404317 w 942280"/>
                <a:gd name="connsiteY6" fmla="*/ 184151 h 5186088"/>
                <a:gd name="connsiteX7" fmla="*/ 404316 w 942280"/>
                <a:gd name="connsiteY7" fmla="*/ 109761 h 5186088"/>
                <a:gd name="connsiteX8" fmla="*/ 942280 w 942280"/>
                <a:gd name="connsiteY8" fmla="*/ 109761 h 5186088"/>
                <a:gd name="connsiteX9" fmla="*/ 942280 w 942280"/>
                <a:gd name="connsiteY9" fmla="*/ 5078090 h 5186088"/>
                <a:gd name="connsiteX10" fmla="*/ 404316 w 942280"/>
                <a:gd name="connsiteY10" fmla="*/ 5078090 h 5186088"/>
                <a:gd name="connsiteX0" fmla="*/ 404316 w 942280"/>
                <a:gd name="connsiteY0" fmla="*/ 5080695 h 5189155"/>
                <a:gd name="connsiteX1" fmla="*/ 393701 w 942280"/>
                <a:gd name="connsiteY1" fmla="*/ 5020916 h 5189155"/>
                <a:gd name="connsiteX2" fmla="*/ 0 w 942280"/>
                <a:gd name="connsiteY2" fmla="*/ 4936680 h 5189155"/>
                <a:gd name="connsiteX3" fmla="*/ 398463 w 942280"/>
                <a:gd name="connsiteY3" fmla="*/ 4782791 h 5189155"/>
                <a:gd name="connsiteX4" fmla="*/ 403225 w 942280"/>
                <a:gd name="connsiteY4" fmla="*/ 373509 h 5189155"/>
                <a:gd name="connsiteX5" fmla="*/ 764357 w 942280"/>
                <a:gd name="connsiteY5" fmla="*/ 328167 h 5189155"/>
                <a:gd name="connsiteX6" fmla="*/ 404317 w 942280"/>
                <a:gd name="connsiteY6" fmla="*/ 184151 h 5189155"/>
                <a:gd name="connsiteX7" fmla="*/ 404316 w 942280"/>
                <a:gd name="connsiteY7" fmla="*/ 109761 h 5189155"/>
                <a:gd name="connsiteX8" fmla="*/ 942280 w 942280"/>
                <a:gd name="connsiteY8" fmla="*/ 109761 h 5189155"/>
                <a:gd name="connsiteX9" fmla="*/ 942280 w 942280"/>
                <a:gd name="connsiteY9" fmla="*/ 5078090 h 5189155"/>
                <a:gd name="connsiteX10" fmla="*/ 404316 w 942280"/>
                <a:gd name="connsiteY10" fmla="*/ 5078090 h 5189155"/>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98103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70118"/>
                <a:gd name="connsiteY0" fmla="*/ 5044365 h 5152824"/>
                <a:gd name="connsiteX1" fmla="*/ 505964 w 1070118"/>
                <a:gd name="connsiteY1" fmla="*/ 4984586 h 5152824"/>
                <a:gd name="connsiteX2" fmla="*/ 0 w 1070118"/>
                <a:gd name="connsiteY2" fmla="*/ 4900349 h 5152824"/>
                <a:gd name="connsiteX3" fmla="*/ 510726 w 1070118"/>
                <a:gd name="connsiteY3" fmla="*/ 4746461 h 5152824"/>
                <a:gd name="connsiteX4" fmla="*/ 515488 w 1070118"/>
                <a:gd name="connsiteY4" fmla="*/ 337179 h 5152824"/>
                <a:gd name="connsiteX5" fmla="*/ 898103 w 1070118"/>
                <a:gd name="connsiteY5" fmla="*/ 291837 h 5152824"/>
                <a:gd name="connsiteX6" fmla="*/ 516580 w 1070118"/>
                <a:gd name="connsiteY6" fmla="*/ 147821 h 5152824"/>
                <a:gd name="connsiteX7" fmla="*/ 516579 w 1070118"/>
                <a:gd name="connsiteY7" fmla="*/ 73431 h 5152824"/>
                <a:gd name="connsiteX8" fmla="*/ 1054543 w 1070118"/>
                <a:gd name="connsiteY8" fmla="*/ 73431 h 5152824"/>
                <a:gd name="connsiteX9" fmla="*/ 1054543 w 1070118"/>
                <a:gd name="connsiteY9" fmla="*/ 5041760 h 5152824"/>
                <a:gd name="connsiteX10" fmla="*/ 516579 w 1070118"/>
                <a:gd name="connsiteY10" fmla="*/ 5041760 h 5152824"/>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73810"/>
                <a:gd name="connsiteX1" fmla="*/ 505964 w 1054543"/>
                <a:gd name="connsiteY1" fmla="*/ 4994404 h 5173810"/>
                <a:gd name="connsiteX2" fmla="*/ 0 w 1054543"/>
                <a:gd name="connsiteY2" fmla="*/ 4921335 h 5173810"/>
                <a:gd name="connsiteX3" fmla="*/ 510726 w 1054543"/>
                <a:gd name="connsiteY3" fmla="*/ 4756279 h 5173810"/>
                <a:gd name="connsiteX4" fmla="*/ 515488 w 1054543"/>
                <a:gd name="connsiteY4" fmla="*/ 346997 h 5173810"/>
                <a:gd name="connsiteX5" fmla="*/ 898103 w 1054543"/>
                <a:gd name="connsiteY5" fmla="*/ 301655 h 5173810"/>
                <a:gd name="connsiteX6" fmla="*/ 516580 w 1054543"/>
                <a:gd name="connsiteY6" fmla="*/ 157639 h 5173810"/>
                <a:gd name="connsiteX7" fmla="*/ 516579 w 1054543"/>
                <a:gd name="connsiteY7" fmla="*/ 83249 h 5173810"/>
                <a:gd name="connsiteX8" fmla="*/ 1054543 w 1054543"/>
                <a:gd name="connsiteY8" fmla="*/ 83249 h 5173810"/>
                <a:gd name="connsiteX9" fmla="*/ 1054543 w 1054543"/>
                <a:gd name="connsiteY9" fmla="*/ 5051578 h 5173810"/>
                <a:gd name="connsiteX10" fmla="*/ 516579 w 1054543"/>
                <a:gd name="connsiteY10" fmla="*/ 5051578 h 5173810"/>
                <a:gd name="connsiteX0" fmla="*/ 516579 w 1054543"/>
                <a:gd name="connsiteY0" fmla="*/ 5054183 h 5187254"/>
                <a:gd name="connsiteX1" fmla="*/ 505964 w 1054543"/>
                <a:gd name="connsiteY1" fmla="*/ 4994404 h 5187254"/>
                <a:gd name="connsiteX2" fmla="*/ 0 w 1054543"/>
                <a:gd name="connsiteY2" fmla="*/ 4921335 h 5187254"/>
                <a:gd name="connsiteX3" fmla="*/ 510726 w 1054543"/>
                <a:gd name="connsiteY3" fmla="*/ 4756279 h 5187254"/>
                <a:gd name="connsiteX4" fmla="*/ 515488 w 1054543"/>
                <a:gd name="connsiteY4" fmla="*/ 346997 h 5187254"/>
                <a:gd name="connsiteX5" fmla="*/ 898103 w 1054543"/>
                <a:gd name="connsiteY5" fmla="*/ 301655 h 5187254"/>
                <a:gd name="connsiteX6" fmla="*/ 516580 w 1054543"/>
                <a:gd name="connsiteY6" fmla="*/ 157639 h 5187254"/>
                <a:gd name="connsiteX7" fmla="*/ 516579 w 1054543"/>
                <a:gd name="connsiteY7" fmla="*/ 83249 h 5187254"/>
                <a:gd name="connsiteX8" fmla="*/ 1054543 w 1054543"/>
                <a:gd name="connsiteY8" fmla="*/ 83249 h 5187254"/>
                <a:gd name="connsiteX9" fmla="*/ 1054543 w 1054543"/>
                <a:gd name="connsiteY9" fmla="*/ 5051578 h 5187254"/>
                <a:gd name="connsiteX10" fmla="*/ 516579 w 1054543"/>
                <a:gd name="connsiteY10" fmla="*/ 5051578 h 5187254"/>
                <a:gd name="connsiteX0" fmla="*/ 516579 w 1054543"/>
                <a:gd name="connsiteY0" fmla="*/ 5054183 h 5196725"/>
                <a:gd name="connsiteX1" fmla="*/ 505964 w 1054543"/>
                <a:gd name="connsiteY1" fmla="*/ 4994404 h 5196725"/>
                <a:gd name="connsiteX2" fmla="*/ 0 w 1054543"/>
                <a:gd name="connsiteY2" fmla="*/ 4921335 h 5196725"/>
                <a:gd name="connsiteX3" fmla="*/ 510726 w 1054543"/>
                <a:gd name="connsiteY3" fmla="*/ 4756279 h 5196725"/>
                <a:gd name="connsiteX4" fmla="*/ 515488 w 1054543"/>
                <a:gd name="connsiteY4" fmla="*/ 346997 h 5196725"/>
                <a:gd name="connsiteX5" fmla="*/ 898103 w 1054543"/>
                <a:gd name="connsiteY5" fmla="*/ 301655 h 5196725"/>
                <a:gd name="connsiteX6" fmla="*/ 516580 w 1054543"/>
                <a:gd name="connsiteY6" fmla="*/ 157639 h 5196725"/>
                <a:gd name="connsiteX7" fmla="*/ 516579 w 1054543"/>
                <a:gd name="connsiteY7" fmla="*/ 83249 h 5196725"/>
                <a:gd name="connsiteX8" fmla="*/ 1054543 w 1054543"/>
                <a:gd name="connsiteY8" fmla="*/ 83249 h 5196725"/>
                <a:gd name="connsiteX9" fmla="*/ 1054543 w 1054543"/>
                <a:gd name="connsiteY9" fmla="*/ 5051578 h 5196725"/>
                <a:gd name="connsiteX10" fmla="*/ 516579 w 1054543"/>
                <a:gd name="connsiteY10" fmla="*/ 5051578 h 5196725"/>
                <a:gd name="connsiteX0" fmla="*/ 516579 w 1054543"/>
                <a:gd name="connsiteY0" fmla="*/ 5054183 h 5196725"/>
                <a:gd name="connsiteX1" fmla="*/ 505964 w 1054543"/>
                <a:gd name="connsiteY1" fmla="*/ 4994404 h 5196725"/>
                <a:gd name="connsiteX2" fmla="*/ 0 w 1054543"/>
                <a:gd name="connsiteY2" fmla="*/ 4921335 h 5196725"/>
                <a:gd name="connsiteX3" fmla="*/ 510726 w 1054543"/>
                <a:gd name="connsiteY3" fmla="*/ 4756279 h 5196725"/>
                <a:gd name="connsiteX4" fmla="*/ 515488 w 1054543"/>
                <a:gd name="connsiteY4" fmla="*/ 346997 h 5196725"/>
                <a:gd name="connsiteX5" fmla="*/ 898103 w 1054543"/>
                <a:gd name="connsiteY5" fmla="*/ 301655 h 5196725"/>
                <a:gd name="connsiteX6" fmla="*/ 516580 w 1054543"/>
                <a:gd name="connsiteY6" fmla="*/ 157639 h 5196725"/>
                <a:gd name="connsiteX7" fmla="*/ 516579 w 1054543"/>
                <a:gd name="connsiteY7" fmla="*/ 83249 h 5196725"/>
                <a:gd name="connsiteX8" fmla="*/ 1054543 w 1054543"/>
                <a:gd name="connsiteY8" fmla="*/ 83249 h 5196725"/>
                <a:gd name="connsiteX9" fmla="*/ 1054543 w 1054543"/>
                <a:gd name="connsiteY9" fmla="*/ 5051578 h 5196725"/>
                <a:gd name="connsiteX10" fmla="*/ 516579 w 1054543"/>
                <a:gd name="connsiteY10" fmla="*/ 5051578 h 5196725"/>
                <a:gd name="connsiteX0" fmla="*/ 516579 w 1054543"/>
                <a:gd name="connsiteY0" fmla="*/ 5054183 h 5196725"/>
                <a:gd name="connsiteX1" fmla="*/ 505964 w 1054543"/>
                <a:gd name="connsiteY1" fmla="*/ 4994404 h 5196725"/>
                <a:gd name="connsiteX2" fmla="*/ 0 w 1054543"/>
                <a:gd name="connsiteY2" fmla="*/ 4921335 h 5196725"/>
                <a:gd name="connsiteX3" fmla="*/ 510726 w 1054543"/>
                <a:gd name="connsiteY3" fmla="*/ 4756279 h 5196725"/>
                <a:gd name="connsiteX4" fmla="*/ 515488 w 1054543"/>
                <a:gd name="connsiteY4" fmla="*/ 346997 h 5196725"/>
                <a:gd name="connsiteX5" fmla="*/ 898103 w 1054543"/>
                <a:gd name="connsiteY5" fmla="*/ 301655 h 5196725"/>
                <a:gd name="connsiteX6" fmla="*/ 516580 w 1054543"/>
                <a:gd name="connsiteY6" fmla="*/ 157639 h 5196725"/>
                <a:gd name="connsiteX7" fmla="*/ 516579 w 1054543"/>
                <a:gd name="connsiteY7" fmla="*/ 83249 h 5196725"/>
                <a:gd name="connsiteX8" fmla="*/ 1054543 w 1054543"/>
                <a:gd name="connsiteY8" fmla="*/ 83249 h 5196725"/>
                <a:gd name="connsiteX9" fmla="*/ 1054543 w 1054543"/>
                <a:gd name="connsiteY9" fmla="*/ 5051578 h 5196725"/>
                <a:gd name="connsiteX10" fmla="*/ 516579 w 1054543"/>
                <a:gd name="connsiteY10" fmla="*/ 5051578 h 5196725"/>
                <a:gd name="connsiteX0" fmla="*/ 516579 w 1054543"/>
                <a:gd name="connsiteY0" fmla="*/ 5054183 h 5214143"/>
                <a:gd name="connsiteX1" fmla="*/ 505964 w 1054543"/>
                <a:gd name="connsiteY1" fmla="*/ 4994404 h 5214143"/>
                <a:gd name="connsiteX2" fmla="*/ 0 w 1054543"/>
                <a:gd name="connsiteY2" fmla="*/ 4921335 h 5214143"/>
                <a:gd name="connsiteX3" fmla="*/ 510726 w 1054543"/>
                <a:gd name="connsiteY3" fmla="*/ 4756279 h 5214143"/>
                <a:gd name="connsiteX4" fmla="*/ 515488 w 1054543"/>
                <a:gd name="connsiteY4" fmla="*/ 346997 h 5214143"/>
                <a:gd name="connsiteX5" fmla="*/ 898103 w 1054543"/>
                <a:gd name="connsiteY5" fmla="*/ 301655 h 5214143"/>
                <a:gd name="connsiteX6" fmla="*/ 516580 w 1054543"/>
                <a:gd name="connsiteY6" fmla="*/ 157639 h 5214143"/>
                <a:gd name="connsiteX7" fmla="*/ 516579 w 1054543"/>
                <a:gd name="connsiteY7" fmla="*/ 83249 h 5214143"/>
                <a:gd name="connsiteX8" fmla="*/ 1054543 w 1054543"/>
                <a:gd name="connsiteY8" fmla="*/ 83249 h 5214143"/>
                <a:gd name="connsiteX9" fmla="*/ 1054543 w 1054543"/>
                <a:gd name="connsiteY9" fmla="*/ 5051578 h 5214143"/>
                <a:gd name="connsiteX10" fmla="*/ 516579 w 1054543"/>
                <a:gd name="connsiteY10" fmla="*/ 5051578 h 5214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4543" h="5214143">
                  <a:moveTo>
                    <a:pt x="516579" y="5054183"/>
                  </a:moveTo>
                  <a:lnTo>
                    <a:pt x="505964" y="4994404"/>
                  </a:lnTo>
                  <a:cubicBezTo>
                    <a:pt x="365487" y="4966325"/>
                    <a:pt x="215647" y="5214143"/>
                    <a:pt x="0" y="4921335"/>
                  </a:cubicBezTo>
                  <a:cubicBezTo>
                    <a:pt x="102379" y="4573244"/>
                    <a:pt x="368661" y="4807575"/>
                    <a:pt x="510726" y="4756279"/>
                  </a:cubicBezTo>
                  <a:cubicBezTo>
                    <a:pt x="510544" y="3971748"/>
                    <a:pt x="454506" y="1089434"/>
                    <a:pt x="515488" y="346997"/>
                  </a:cubicBezTo>
                  <a:cubicBezTo>
                    <a:pt x="645783" y="336296"/>
                    <a:pt x="811401" y="489209"/>
                    <a:pt x="898103" y="301655"/>
                  </a:cubicBezTo>
                  <a:cubicBezTo>
                    <a:pt x="910891" y="0"/>
                    <a:pt x="637075" y="181302"/>
                    <a:pt x="516580" y="157639"/>
                  </a:cubicBezTo>
                  <a:cubicBezTo>
                    <a:pt x="516943" y="142748"/>
                    <a:pt x="516216" y="98140"/>
                    <a:pt x="516579" y="83249"/>
                  </a:cubicBezTo>
                  <a:lnTo>
                    <a:pt x="1054543" y="83249"/>
                  </a:lnTo>
                  <a:lnTo>
                    <a:pt x="1054543" y="5051578"/>
                  </a:lnTo>
                  <a:lnTo>
                    <a:pt x="516579" y="5051578"/>
                  </a:lnTo>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54000" tIns="54000" rIns="54000" bIns="54000" rtlCol="0" anchor="t"/>
            <a:lstStyle/>
            <a:p>
              <a:pPr algn="ctr"/>
              <a:r>
                <a:rPr lang="en-US" sz="900" b="1" dirty="0" smtClean="0"/>
                <a:t>Results of analysis</a:t>
              </a:r>
              <a:endParaRPr lang="en-US" sz="900" b="1" dirty="0"/>
            </a:p>
          </p:txBody>
        </p:sp>
        <p:sp>
          <p:nvSpPr>
            <p:cNvPr id="79" name="Rechteck 75"/>
            <p:cNvSpPr/>
            <p:nvPr/>
          </p:nvSpPr>
          <p:spPr>
            <a:xfrm>
              <a:off x="992560" y="1101645"/>
              <a:ext cx="7200800" cy="561063"/>
            </a:xfrm>
            <a:custGeom>
              <a:avLst/>
              <a:gdLst>
                <a:gd name="connsiteX0" fmla="*/ 0 w 6552728"/>
                <a:gd name="connsiteY0" fmla="*/ 0 h 360546"/>
                <a:gd name="connsiteX1" fmla="*/ 6552728 w 6552728"/>
                <a:gd name="connsiteY1" fmla="*/ 0 h 360546"/>
                <a:gd name="connsiteX2" fmla="*/ 6552728 w 6552728"/>
                <a:gd name="connsiteY2" fmla="*/ 360546 h 360546"/>
                <a:gd name="connsiteX3" fmla="*/ 0 w 6552728"/>
                <a:gd name="connsiteY3" fmla="*/ 360546 h 360546"/>
                <a:gd name="connsiteX4" fmla="*/ 0 w 6552728"/>
                <a:gd name="connsiteY4" fmla="*/ 0 h 360546"/>
                <a:gd name="connsiteX0" fmla="*/ 4615 w 6557343"/>
                <a:gd name="connsiteY0" fmla="*/ 0 h 360546"/>
                <a:gd name="connsiteX1" fmla="*/ 6557343 w 6557343"/>
                <a:gd name="connsiteY1" fmla="*/ 0 h 360546"/>
                <a:gd name="connsiteX2" fmla="*/ 6557343 w 6557343"/>
                <a:gd name="connsiteY2" fmla="*/ 360546 h 360546"/>
                <a:gd name="connsiteX3" fmla="*/ 4615 w 6557343"/>
                <a:gd name="connsiteY3" fmla="*/ 360546 h 360546"/>
                <a:gd name="connsiteX4" fmla="*/ 0 w 6557343"/>
                <a:gd name="connsiteY4" fmla="*/ 168498 h 360546"/>
                <a:gd name="connsiteX5" fmla="*/ 4615 w 6557343"/>
                <a:gd name="connsiteY5" fmla="*/ 0 h 360546"/>
                <a:gd name="connsiteX0" fmla="*/ 4615 w 6557343"/>
                <a:gd name="connsiteY0" fmla="*/ 0 h 360546"/>
                <a:gd name="connsiteX1" fmla="*/ 6557343 w 6557343"/>
                <a:gd name="connsiteY1" fmla="*/ 0 h 360546"/>
                <a:gd name="connsiteX2" fmla="*/ 6557343 w 6557343"/>
                <a:gd name="connsiteY2" fmla="*/ 360546 h 360546"/>
                <a:gd name="connsiteX3" fmla="*/ 4615 w 6557343"/>
                <a:gd name="connsiteY3" fmla="*/ 360546 h 360546"/>
                <a:gd name="connsiteX4" fmla="*/ 0 w 6557343"/>
                <a:gd name="connsiteY4" fmla="*/ 168498 h 360546"/>
                <a:gd name="connsiteX5" fmla="*/ 1 w 6557343"/>
                <a:gd name="connsiteY5" fmla="*/ 54198 h 360546"/>
                <a:gd name="connsiteX6" fmla="*/ 4615 w 6557343"/>
                <a:gd name="connsiteY6" fmla="*/ 0 h 360546"/>
                <a:gd name="connsiteX0" fmla="*/ 4614 w 6557342"/>
                <a:gd name="connsiteY0" fmla="*/ 0 h 360546"/>
                <a:gd name="connsiteX1" fmla="*/ 6557342 w 6557342"/>
                <a:gd name="connsiteY1" fmla="*/ 0 h 360546"/>
                <a:gd name="connsiteX2" fmla="*/ 6557342 w 6557342"/>
                <a:gd name="connsiteY2" fmla="*/ 360546 h 360546"/>
                <a:gd name="connsiteX3" fmla="*/ 4614 w 6557342"/>
                <a:gd name="connsiteY3" fmla="*/ 360546 h 360546"/>
                <a:gd name="connsiteX4" fmla="*/ 4614 w 6557342"/>
                <a:gd name="connsiteY4" fmla="*/ 216024 h 360546"/>
                <a:gd name="connsiteX5" fmla="*/ 0 w 6557342"/>
                <a:gd name="connsiteY5" fmla="*/ 54198 h 360546"/>
                <a:gd name="connsiteX6" fmla="*/ 4614 w 6557342"/>
                <a:gd name="connsiteY6" fmla="*/ 0 h 360546"/>
                <a:gd name="connsiteX0" fmla="*/ 4614 w 6557342"/>
                <a:gd name="connsiteY0" fmla="*/ 0 h 360546"/>
                <a:gd name="connsiteX1" fmla="*/ 6557342 w 6557342"/>
                <a:gd name="connsiteY1" fmla="*/ 0 h 360546"/>
                <a:gd name="connsiteX2" fmla="*/ 6557342 w 6557342"/>
                <a:gd name="connsiteY2" fmla="*/ 360546 h 360546"/>
                <a:gd name="connsiteX3" fmla="*/ 4614 w 6557342"/>
                <a:gd name="connsiteY3" fmla="*/ 360546 h 360546"/>
                <a:gd name="connsiteX4" fmla="*/ 3174 w 6557342"/>
                <a:gd name="connsiteY4" fmla="*/ 260573 h 360546"/>
                <a:gd name="connsiteX5" fmla="*/ 4614 w 6557342"/>
                <a:gd name="connsiteY5" fmla="*/ 216024 h 360546"/>
                <a:gd name="connsiteX6" fmla="*/ 0 w 6557342"/>
                <a:gd name="connsiteY6" fmla="*/ 54198 h 360546"/>
                <a:gd name="connsiteX7" fmla="*/ 4614 w 6557342"/>
                <a:gd name="connsiteY7" fmla="*/ 0 h 360546"/>
                <a:gd name="connsiteX0" fmla="*/ 4614 w 6557342"/>
                <a:gd name="connsiteY0" fmla="*/ 0 h 360546"/>
                <a:gd name="connsiteX1" fmla="*/ 6557342 w 6557342"/>
                <a:gd name="connsiteY1" fmla="*/ 0 h 360546"/>
                <a:gd name="connsiteX2" fmla="*/ 6557342 w 6557342"/>
                <a:gd name="connsiteY2" fmla="*/ 360546 h 360546"/>
                <a:gd name="connsiteX3" fmla="*/ 4614 w 6557342"/>
                <a:gd name="connsiteY3" fmla="*/ 360546 h 360546"/>
                <a:gd name="connsiteX4" fmla="*/ 3174 w 6557342"/>
                <a:gd name="connsiteY4" fmla="*/ 260573 h 360546"/>
                <a:gd name="connsiteX5" fmla="*/ 220637 w 6557342"/>
                <a:gd name="connsiteY5" fmla="*/ 216024 h 360546"/>
                <a:gd name="connsiteX6" fmla="*/ 0 w 6557342"/>
                <a:gd name="connsiteY6" fmla="*/ 54198 h 360546"/>
                <a:gd name="connsiteX7" fmla="*/ 4614 w 6557342"/>
                <a:gd name="connsiteY7" fmla="*/ 0 h 360546"/>
                <a:gd name="connsiteX0" fmla="*/ 1440 w 6554168"/>
                <a:gd name="connsiteY0" fmla="*/ 0 h 360546"/>
                <a:gd name="connsiteX1" fmla="*/ 6554168 w 6554168"/>
                <a:gd name="connsiteY1" fmla="*/ 0 h 360546"/>
                <a:gd name="connsiteX2" fmla="*/ 6554168 w 6554168"/>
                <a:gd name="connsiteY2" fmla="*/ 360546 h 360546"/>
                <a:gd name="connsiteX3" fmla="*/ 1440 w 6554168"/>
                <a:gd name="connsiteY3" fmla="*/ 360546 h 360546"/>
                <a:gd name="connsiteX4" fmla="*/ 0 w 6554168"/>
                <a:gd name="connsiteY4" fmla="*/ 260573 h 360546"/>
                <a:gd name="connsiteX5" fmla="*/ 217463 w 6554168"/>
                <a:gd name="connsiteY5" fmla="*/ 216024 h 360546"/>
                <a:gd name="connsiteX6" fmla="*/ 1439 w 6554168"/>
                <a:gd name="connsiteY6" fmla="*/ 72008 h 360546"/>
                <a:gd name="connsiteX7" fmla="*/ 1440 w 6554168"/>
                <a:gd name="connsiteY7" fmla="*/ 0 h 360546"/>
                <a:gd name="connsiteX0" fmla="*/ 1440 w 6554168"/>
                <a:gd name="connsiteY0" fmla="*/ 0 h 360546"/>
                <a:gd name="connsiteX1" fmla="*/ 6554168 w 6554168"/>
                <a:gd name="connsiteY1" fmla="*/ 0 h 360546"/>
                <a:gd name="connsiteX2" fmla="*/ 6554168 w 6554168"/>
                <a:gd name="connsiteY2" fmla="*/ 360546 h 360546"/>
                <a:gd name="connsiteX3" fmla="*/ 1440 w 6554168"/>
                <a:gd name="connsiteY3" fmla="*/ 360546 h 360546"/>
                <a:gd name="connsiteX4" fmla="*/ 0 w 6554168"/>
                <a:gd name="connsiteY4" fmla="*/ 260573 h 360546"/>
                <a:gd name="connsiteX5" fmla="*/ 217463 w 6554168"/>
                <a:gd name="connsiteY5" fmla="*/ 144016 h 360546"/>
                <a:gd name="connsiteX6" fmla="*/ 1439 w 6554168"/>
                <a:gd name="connsiteY6" fmla="*/ 72008 h 360546"/>
                <a:gd name="connsiteX7" fmla="*/ 1440 w 6554168"/>
                <a:gd name="connsiteY7" fmla="*/ 0 h 360546"/>
                <a:gd name="connsiteX0" fmla="*/ 1440 w 6554168"/>
                <a:gd name="connsiteY0" fmla="*/ 0 h 360546"/>
                <a:gd name="connsiteX1" fmla="*/ 6554168 w 6554168"/>
                <a:gd name="connsiteY1" fmla="*/ 0 h 360546"/>
                <a:gd name="connsiteX2" fmla="*/ 6554168 w 6554168"/>
                <a:gd name="connsiteY2" fmla="*/ 360546 h 360546"/>
                <a:gd name="connsiteX3" fmla="*/ 1440 w 6554168"/>
                <a:gd name="connsiteY3" fmla="*/ 360546 h 360546"/>
                <a:gd name="connsiteX4" fmla="*/ 0 w 6554168"/>
                <a:gd name="connsiteY4" fmla="*/ 260573 h 360546"/>
                <a:gd name="connsiteX5" fmla="*/ 217463 w 6554168"/>
                <a:gd name="connsiteY5" fmla="*/ 144016 h 360546"/>
                <a:gd name="connsiteX6" fmla="*/ 1439 w 6554168"/>
                <a:gd name="connsiteY6" fmla="*/ 72008 h 360546"/>
                <a:gd name="connsiteX7" fmla="*/ 1440 w 6554168"/>
                <a:gd name="connsiteY7" fmla="*/ 0 h 360546"/>
                <a:gd name="connsiteX0" fmla="*/ 1440 w 6554168"/>
                <a:gd name="connsiteY0" fmla="*/ 0 h 360546"/>
                <a:gd name="connsiteX1" fmla="*/ 6554168 w 6554168"/>
                <a:gd name="connsiteY1" fmla="*/ 0 h 360546"/>
                <a:gd name="connsiteX2" fmla="*/ 6554168 w 6554168"/>
                <a:gd name="connsiteY2" fmla="*/ 360546 h 360546"/>
                <a:gd name="connsiteX3" fmla="*/ 1440 w 6554168"/>
                <a:gd name="connsiteY3" fmla="*/ 360546 h 360546"/>
                <a:gd name="connsiteX4" fmla="*/ 0 w 6554168"/>
                <a:gd name="connsiteY4" fmla="*/ 260573 h 360546"/>
                <a:gd name="connsiteX5" fmla="*/ 217463 w 6554168"/>
                <a:gd name="connsiteY5" fmla="*/ 144016 h 360546"/>
                <a:gd name="connsiteX6" fmla="*/ 1439 w 6554168"/>
                <a:gd name="connsiteY6" fmla="*/ 72008 h 360546"/>
                <a:gd name="connsiteX7" fmla="*/ 1440 w 6554168"/>
                <a:gd name="connsiteY7" fmla="*/ 0 h 360546"/>
                <a:gd name="connsiteX0" fmla="*/ 1440 w 6554168"/>
                <a:gd name="connsiteY0" fmla="*/ 0 h 360546"/>
                <a:gd name="connsiteX1" fmla="*/ 6554168 w 6554168"/>
                <a:gd name="connsiteY1" fmla="*/ 0 h 360546"/>
                <a:gd name="connsiteX2" fmla="*/ 6554168 w 6554168"/>
                <a:gd name="connsiteY2" fmla="*/ 360546 h 360546"/>
                <a:gd name="connsiteX3" fmla="*/ 1440 w 6554168"/>
                <a:gd name="connsiteY3" fmla="*/ 360546 h 360546"/>
                <a:gd name="connsiteX4" fmla="*/ 0 w 6554168"/>
                <a:gd name="connsiteY4" fmla="*/ 260573 h 360546"/>
                <a:gd name="connsiteX5" fmla="*/ 217463 w 6554168"/>
                <a:gd name="connsiteY5" fmla="*/ 144016 h 360546"/>
                <a:gd name="connsiteX6" fmla="*/ 1439 w 6554168"/>
                <a:gd name="connsiteY6" fmla="*/ 72008 h 360546"/>
                <a:gd name="connsiteX7" fmla="*/ 1440 w 6554168"/>
                <a:gd name="connsiteY7" fmla="*/ 0 h 360546"/>
                <a:gd name="connsiteX0" fmla="*/ 1440 w 6554168"/>
                <a:gd name="connsiteY0" fmla="*/ 0 h 429699"/>
                <a:gd name="connsiteX1" fmla="*/ 6554168 w 6554168"/>
                <a:gd name="connsiteY1" fmla="*/ 0 h 429699"/>
                <a:gd name="connsiteX2" fmla="*/ 6554168 w 6554168"/>
                <a:gd name="connsiteY2" fmla="*/ 360546 h 429699"/>
                <a:gd name="connsiteX3" fmla="*/ 1440 w 6554168"/>
                <a:gd name="connsiteY3" fmla="*/ 360546 h 429699"/>
                <a:gd name="connsiteX4" fmla="*/ 0 w 6554168"/>
                <a:gd name="connsiteY4" fmla="*/ 260573 h 429699"/>
                <a:gd name="connsiteX5" fmla="*/ 217463 w 6554168"/>
                <a:gd name="connsiteY5" fmla="*/ 216024 h 429699"/>
                <a:gd name="connsiteX6" fmla="*/ 1439 w 6554168"/>
                <a:gd name="connsiteY6" fmla="*/ 72008 h 429699"/>
                <a:gd name="connsiteX7" fmla="*/ 1440 w 6554168"/>
                <a:gd name="connsiteY7" fmla="*/ 0 h 429699"/>
                <a:gd name="connsiteX0" fmla="*/ 1440 w 6554168"/>
                <a:gd name="connsiteY0" fmla="*/ 0 h 429699"/>
                <a:gd name="connsiteX1" fmla="*/ 6554168 w 6554168"/>
                <a:gd name="connsiteY1" fmla="*/ 0 h 429699"/>
                <a:gd name="connsiteX2" fmla="*/ 6554168 w 6554168"/>
                <a:gd name="connsiteY2" fmla="*/ 360546 h 429699"/>
                <a:gd name="connsiteX3" fmla="*/ 1440 w 6554168"/>
                <a:gd name="connsiteY3" fmla="*/ 360546 h 429699"/>
                <a:gd name="connsiteX4" fmla="*/ 0 w 6554168"/>
                <a:gd name="connsiteY4" fmla="*/ 260573 h 429699"/>
                <a:gd name="connsiteX5" fmla="*/ 217463 w 6554168"/>
                <a:gd name="connsiteY5" fmla="*/ 216024 h 429699"/>
                <a:gd name="connsiteX6" fmla="*/ 1439 w 6554168"/>
                <a:gd name="connsiteY6" fmla="*/ 72008 h 429699"/>
                <a:gd name="connsiteX7" fmla="*/ 1440 w 6554168"/>
                <a:gd name="connsiteY7" fmla="*/ 0 h 429699"/>
                <a:gd name="connsiteX0" fmla="*/ 1440 w 6554168"/>
                <a:gd name="connsiteY0" fmla="*/ 0 h 429699"/>
                <a:gd name="connsiteX1" fmla="*/ 6554168 w 6554168"/>
                <a:gd name="connsiteY1" fmla="*/ 0 h 429699"/>
                <a:gd name="connsiteX2" fmla="*/ 6554168 w 6554168"/>
                <a:gd name="connsiteY2" fmla="*/ 360546 h 429699"/>
                <a:gd name="connsiteX3" fmla="*/ 1440 w 6554168"/>
                <a:gd name="connsiteY3" fmla="*/ 360546 h 429699"/>
                <a:gd name="connsiteX4" fmla="*/ 0 w 6554168"/>
                <a:gd name="connsiteY4" fmla="*/ 260573 h 429699"/>
                <a:gd name="connsiteX5" fmla="*/ 217463 w 6554168"/>
                <a:gd name="connsiteY5" fmla="*/ 216024 h 429699"/>
                <a:gd name="connsiteX6" fmla="*/ 1439 w 6554168"/>
                <a:gd name="connsiteY6" fmla="*/ 72008 h 429699"/>
                <a:gd name="connsiteX7" fmla="*/ 1440 w 6554168"/>
                <a:gd name="connsiteY7" fmla="*/ 0 h 429699"/>
                <a:gd name="connsiteX0" fmla="*/ 1 w 6552729"/>
                <a:gd name="connsiteY0" fmla="*/ 0 h 429699"/>
                <a:gd name="connsiteX1" fmla="*/ 6552729 w 6552729"/>
                <a:gd name="connsiteY1" fmla="*/ 0 h 429699"/>
                <a:gd name="connsiteX2" fmla="*/ 6552729 w 6552729"/>
                <a:gd name="connsiteY2" fmla="*/ 360546 h 429699"/>
                <a:gd name="connsiteX3" fmla="*/ 1 w 6552729"/>
                <a:gd name="connsiteY3" fmla="*/ 360546 h 429699"/>
                <a:gd name="connsiteX4" fmla="*/ 0 w 6552729"/>
                <a:gd name="connsiteY4" fmla="*/ 288032 h 429699"/>
                <a:gd name="connsiteX5" fmla="*/ 216024 w 6552729"/>
                <a:gd name="connsiteY5" fmla="*/ 216024 h 429699"/>
                <a:gd name="connsiteX6" fmla="*/ 0 w 6552729"/>
                <a:gd name="connsiteY6" fmla="*/ 72008 h 429699"/>
                <a:gd name="connsiteX7" fmla="*/ 1 w 6552729"/>
                <a:gd name="connsiteY7" fmla="*/ 0 h 429699"/>
                <a:gd name="connsiteX0" fmla="*/ 1 w 6552729"/>
                <a:gd name="connsiteY0" fmla="*/ 0 h 429699"/>
                <a:gd name="connsiteX1" fmla="*/ 6552729 w 6552729"/>
                <a:gd name="connsiteY1" fmla="*/ 0 h 429699"/>
                <a:gd name="connsiteX2" fmla="*/ 6552729 w 6552729"/>
                <a:gd name="connsiteY2" fmla="*/ 360546 h 429699"/>
                <a:gd name="connsiteX3" fmla="*/ 1 w 6552729"/>
                <a:gd name="connsiteY3" fmla="*/ 360546 h 429699"/>
                <a:gd name="connsiteX4" fmla="*/ 0 w 6552729"/>
                <a:gd name="connsiteY4" fmla="*/ 288032 h 429699"/>
                <a:gd name="connsiteX5" fmla="*/ 216024 w 6552729"/>
                <a:gd name="connsiteY5" fmla="*/ 216024 h 429699"/>
                <a:gd name="connsiteX6" fmla="*/ 0 w 6552729"/>
                <a:gd name="connsiteY6" fmla="*/ 72008 h 429699"/>
                <a:gd name="connsiteX7" fmla="*/ 1 w 6552729"/>
                <a:gd name="connsiteY7" fmla="*/ 0 h 429699"/>
                <a:gd name="connsiteX0" fmla="*/ 1 w 6552729"/>
                <a:gd name="connsiteY0" fmla="*/ 0 h 360546"/>
                <a:gd name="connsiteX1" fmla="*/ 6552729 w 6552729"/>
                <a:gd name="connsiteY1" fmla="*/ 0 h 360546"/>
                <a:gd name="connsiteX2" fmla="*/ 6552729 w 6552729"/>
                <a:gd name="connsiteY2" fmla="*/ 360546 h 360546"/>
                <a:gd name="connsiteX3" fmla="*/ 1 w 6552729"/>
                <a:gd name="connsiteY3" fmla="*/ 360546 h 360546"/>
                <a:gd name="connsiteX4" fmla="*/ 0 w 6552729"/>
                <a:gd name="connsiteY4" fmla="*/ 288032 h 360546"/>
                <a:gd name="connsiteX5" fmla="*/ 216024 w 6552729"/>
                <a:gd name="connsiteY5" fmla="*/ 216024 h 360546"/>
                <a:gd name="connsiteX6" fmla="*/ 0 w 6552729"/>
                <a:gd name="connsiteY6" fmla="*/ 72008 h 360546"/>
                <a:gd name="connsiteX7" fmla="*/ 1 w 6552729"/>
                <a:gd name="connsiteY7" fmla="*/ 0 h 360546"/>
                <a:gd name="connsiteX0" fmla="*/ 6516 w 6559244"/>
                <a:gd name="connsiteY0" fmla="*/ 0 h 360546"/>
                <a:gd name="connsiteX1" fmla="*/ 6559244 w 6559244"/>
                <a:gd name="connsiteY1" fmla="*/ 0 h 360546"/>
                <a:gd name="connsiteX2" fmla="*/ 6559244 w 6559244"/>
                <a:gd name="connsiteY2" fmla="*/ 360546 h 360546"/>
                <a:gd name="connsiteX3" fmla="*/ 6516 w 6559244"/>
                <a:gd name="connsiteY3" fmla="*/ 360546 h 360546"/>
                <a:gd name="connsiteX4" fmla="*/ 6515 w 6559244"/>
                <a:gd name="connsiteY4" fmla="*/ 288032 h 360546"/>
                <a:gd name="connsiteX5" fmla="*/ 222539 w 6559244"/>
                <a:gd name="connsiteY5" fmla="*/ 216024 h 360546"/>
                <a:gd name="connsiteX6" fmla="*/ 6515 w 6559244"/>
                <a:gd name="connsiteY6" fmla="*/ 72008 h 360546"/>
                <a:gd name="connsiteX7" fmla="*/ 6516 w 6559244"/>
                <a:gd name="connsiteY7" fmla="*/ 0 h 360546"/>
                <a:gd name="connsiteX0" fmla="*/ 6516 w 6559244"/>
                <a:gd name="connsiteY0" fmla="*/ 0 h 360546"/>
                <a:gd name="connsiteX1" fmla="*/ 6559244 w 6559244"/>
                <a:gd name="connsiteY1" fmla="*/ 0 h 360546"/>
                <a:gd name="connsiteX2" fmla="*/ 6559244 w 6559244"/>
                <a:gd name="connsiteY2" fmla="*/ 360546 h 360546"/>
                <a:gd name="connsiteX3" fmla="*/ 6516 w 6559244"/>
                <a:gd name="connsiteY3" fmla="*/ 360546 h 360546"/>
                <a:gd name="connsiteX4" fmla="*/ 6515 w 6559244"/>
                <a:gd name="connsiteY4" fmla="*/ 288032 h 360546"/>
                <a:gd name="connsiteX5" fmla="*/ 222539 w 6559244"/>
                <a:gd name="connsiteY5" fmla="*/ 216024 h 360546"/>
                <a:gd name="connsiteX6" fmla="*/ 6515 w 6559244"/>
                <a:gd name="connsiteY6" fmla="*/ 72008 h 360546"/>
                <a:gd name="connsiteX7" fmla="*/ 6516 w 6559244"/>
                <a:gd name="connsiteY7" fmla="*/ 0 h 360546"/>
                <a:gd name="connsiteX0" fmla="*/ 6516 w 6559244"/>
                <a:gd name="connsiteY0" fmla="*/ 57174 h 417720"/>
                <a:gd name="connsiteX1" fmla="*/ 6559244 w 6559244"/>
                <a:gd name="connsiteY1" fmla="*/ 57174 h 417720"/>
                <a:gd name="connsiteX2" fmla="*/ 6559244 w 6559244"/>
                <a:gd name="connsiteY2" fmla="*/ 417720 h 417720"/>
                <a:gd name="connsiteX3" fmla="*/ 6516 w 6559244"/>
                <a:gd name="connsiteY3" fmla="*/ 417720 h 417720"/>
                <a:gd name="connsiteX4" fmla="*/ 6515 w 6559244"/>
                <a:gd name="connsiteY4" fmla="*/ 345206 h 417720"/>
                <a:gd name="connsiteX5" fmla="*/ 222539 w 6559244"/>
                <a:gd name="connsiteY5" fmla="*/ 201190 h 417720"/>
                <a:gd name="connsiteX6" fmla="*/ 6515 w 6559244"/>
                <a:gd name="connsiteY6" fmla="*/ 129182 h 417720"/>
                <a:gd name="connsiteX7" fmla="*/ 6516 w 6559244"/>
                <a:gd name="connsiteY7" fmla="*/ 57174 h 417720"/>
                <a:gd name="connsiteX0" fmla="*/ 6516 w 6559244"/>
                <a:gd name="connsiteY0" fmla="*/ 57174 h 446913"/>
                <a:gd name="connsiteX1" fmla="*/ 6559244 w 6559244"/>
                <a:gd name="connsiteY1" fmla="*/ 57174 h 446913"/>
                <a:gd name="connsiteX2" fmla="*/ 6559244 w 6559244"/>
                <a:gd name="connsiteY2" fmla="*/ 417720 h 446913"/>
                <a:gd name="connsiteX3" fmla="*/ 6516 w 6559244"/>
                <a:gd name="connsiteY3" fmla="*/ 417720 h 446913"/>
                <a:gd name="connsiteX4" fmla="*/ 6515 w 6559244"/>
                <a:gd name="connsiteY4" fmla="*/ 345206 h 446913"/>
                <a:gd name="connsiteX5" fmla="*/ 222539 w 6559244"/>
                <a:gd name="connsiteY5" fmla="*/ 201190 h 446913"/>
                <a:gd name="connsiteX6" fmla="*/ 6515 w 6559244"/>
                <a:gd name="connsiteY6" fmla="*/ 129182 h 446913"/>
                <a:gd name="connsiteX7" fmla="*/ 6516 w 6559244"/>
                <a:gd name="connsiteY7" fmla="*/ 57174 h 446913"/>
                <a:gd name="connsiteX0" fmla="*/ 6516 w 6559244"/>
                <a:gd name="connsiteY0" fmla="*/ 19868 h 409607"/>
                <a:gd name="connsiteX1" fmla="*/ 6559244 w 6559244"/>
                <a:gd name="connsiteY1" fmla="*/ 19868 h 409607"/>
                <a:gd name="connsiteX2" fmla="*/ 6559244 w 6559244"/>
                <a:gd name="connsiteY2" fmla="*/ 380414 h 409607"/>
                <a:gd name="connsiteX3" fmla="*/ 6516 w 6559244"/>
                <a:gd name="connsiteY3" fmla="*/ 380414 h 409607"/>
                <a:gd name="connsiteX4" fmla="*/ 6515 w 6559244"/>
                <a:gd name="connsiteY4" fmla="*/ 307900 h 409607"/>
                <a:gd name="connsiteX5" fmla="*/ 222539 w 6559244"/>
                <a:gd name="connsiteY5" fmla="*/ 163884 h 409607"/>
                <a:gd name="connsiteX6" fmla="*/ 6515 w 6559244"/>
                <a:gd name="connsiteY6" fmla="*/ 91876 h 409607"/>
                <a:gd name="connsiteX7" fmla="*/ 6516 w 6559244"/>
                <a:gd name="connsiteY7" fmla="*/ 19868 h 409607"/>
                <a:gd name="connsiteX0" fmla="*/ 6516 w 6559244"/>
                <a:gd name="connsiteY0" fmla="*/ 19868 h 438728"/>
                <a:gd name="connsiteX1" fmla="*/ 6559244 w 6559244"/>
                <a:gd name="connsiteY1" fmla="*/ 19868 h 438728"/>
                <a:gd name="connsiteX2" fmla="*/ 6559244 w 6559244"/>
                <a:gd name="connsiteY2" fmla="*/ 380414 h 438728"/>
                <a:gd name="connsiteX3" fmla="*/ 6516 w 6559244"/>
                <a:gd name="connsiteY3" fmla="*/ 380414 h 438728"/>
                <a:gd name="connsiteX4" fmla="*/ 6515 w 6559244"/>
                <a:gd name="connsiteY4" fmla="*/ 307900 h 438728"/>
                <a:gd name="connsiteX5" fmla="*/ 222539 w 6559244"/>
                <a:gd name="connsiteY5" fmla="*/ 163884 h 438728"/>
                <a:gd name="connsiteX6" fmla="*/ 6515 w 6559244"/>
                <a:gd name="connsiteY6" fmla="*/ 91876 h 438728"/>
                <a:gd name="connsiteX7" fmla="*/ 6516 w 6559244"/>
                <a:gd name="connsiteY7" fmla="*/ 19868 h 438728"/>
                <a:gd name="connsiteX0" fmla="*/ 6516 w 6559244"/>
                <a:gd name="connsiteY0" fmla="*/ 19868 h 438728"/>
                <a:gd name="connsiteX1" fmla="*/ 6559244 w 6559244"/>
                <a:gd name="connsiteY1" fmla="*/ 19868 h 438728"/>
                <a:gd name="connsiteX2" fmla="*/ 6559244 w 6559244"/>
                <a:gd name="connsiteY2" fmla="*/ 380414 h 438728"/>
                <a:gd name="connsiteX3" fmla="*/ 6516 w 6559244"/>
                <a:gd name="connsiteY3" fmla="*/ 380414 h 438728"/>
                <a:gd name="connsiteX4" fmla="*/ 6515 w 6559244"/>
                <a:gd name="connsiteY4" fmla="*/ 307900 h 438728"/>
                <a:gd name="connsiteX5" fmla="*/ 222539 w 6559244"/>
                <a:gd name="connsiteY5" fmla="*/ 163884 h 438728"/>
                <a:gd name="connsiteX6" fmla="*/ 6515 w 6559244"/>
                <a:gd name="connsiteY6" fmla="*/ 91875 h 438728"/>
                <a:gd name="connsiteX7" fmla="*/ 6516 w 6559244"/>
                <a:gd name="connsiteY7" fmla="*/ 19868 h 438728"/>
                <a:gd name="connsiteX0" fmla="*/ 6516 w 6559244"/>
                <a:gd name="connsiteY0" fmla="*/ 19868 h 438728"/>
                <a:gd name="connsiteX1" fmla="*/ 6559244 w 6559244"/>
                <a:gd name="connsiteY1" fmla="*/ 19868 h 438728"/>
                <a:gd name="connsiteX2" fmla="*/ 6559244 w 6559244"/>
                <a:gd name="connsiteY2" fmla="*/ 380414 h 438728"/>
                <a:gd name="connsiteX3" fmla="*/ 6516 w 6559244"/>
                <a:gd name="connsiteY3" fmla="*/ 380414 h 438728"/>
                <a:gd name="connsiteX4" fmla="*/ 6515 w 6559244"/>
                <a:gd name="connsiteY4" fmla="*/ 307900 h 438728"/>
                <a:gd name="connsiteX5" fmla="*/ 222539 w 6559244"/>
                <a:gd name="connsiteY5" fmla="*/ 163884 h 438728"/>
                <a:gd name="connsiteX6" fmla="*/ 6515 w 6559244"/>
                <a:gd name="connsiteY6" fmla="*/ 91875 h 438728"/>
                <a:gd name="connsiteX7" fmla="*/ 6516 w 6559244"/>
                <a:gd name="connsiteY7" fmla="*/ 19868 h 438728"/>
                <a:gd name="connsiteX0" fmla="*/ 6516 w 6559244"/>
                <a:gd name="connsiteY0" fmla="*/ 54570 h 473430"/>
                <a:gd name="connsiteX1" fmla="*/ 6559244 w 6559244"/>
                <a:gd name="connsiteY1" fmla="*/ 54570 h 473430"/>
                <a:gd name="connsiteX2" fmla="*/ 6559244 w 6559244"/>
                <a:gd name="connsiteY2" fmla="*/ 415116 h 473430"/>
                <a:gd name="connsiteX3" fmla="*/ 6516 w 6559244"/>
                <a:gd name="connsiteY3" fmla="*/ 415116 h 473430"/>
                <a:gd name="connsiteX4" fmla="*/ 6515 w 6559244"/>
                <a:gd name="connsiteY4" fmla="*/ 342602 h 473430"/>
                <a:gd name="connsiteX5" fmla="*/ 222539 w 6559244"/>
                <a:gd name="connsiteY5" fmla="*/ 198586 h 473430"/>
                <a:gd name="connsiteX6" fmla="*/ 6515 w 6559244"/>
                <a:gd name="connsiteY6" fmla="*/ 126577 h 473430"/>
                <a:gd name="connsiteX7" fmla="*/ 6516 w 6559244"/>
                <a:gd name="connsiteY7" fmla="*/ 54570 h 473430"/>
                <a:gd name="connsiteX0" fmla="*/ 6516 w 6559244"/>
                <a:gd name="connsiteY0" fmla="*/ 54570 h 468643"/>
                <a:gd name="connsiteX1" fmla="*/ 6559244 w 6559244"/>
                <a:gd name="connsiteY1" fmla="*/ 54570 h 468643"/>
                <a:gd name="connsiteX2" fmla="*/ 6559244 w 6559244"/>
                <a:gd name="connsiteY2" fmla="*/ 415116 h 468643"/>
                <a:gd name="connsiteX3" fmla="*/ 6516 w 6559244"/>
                <a:gd name="connsiteY3" fmla="*/ 415116 h 468643"/>
                <a:gd name="connsiteX4" fmla="*/ 6515 w 6559244"/>
                <a:gd name="connsiteY4" fmla="*/ 342602 h 468643"/>
                <a:gd name="connsiteX5" fmla="*/ 222539 w 6559244"/>
                <a:gd name="connsiteY5" fmla="*/ 198586 h 468643"/>
                <a:gd name="connsiteX6" fmla="*/ 6515 w 6559244"/>
                <a:gd name="connsiteY6" fmla="*/ 126577 h 468643"/>
                <a:gd name="connsiteX7" fmla="*/ 6516 w 6559244"/>
                <a:gd name="connsiteY7" fmla="*/ 54570 h 468643"/>
                <a:gd name="connsiteX0" fmla="*/ 6516 w 6559244"/>
                <a:gd name="connsiteY0" fmla="*/ 54570 h 461474"/>
                <a:gd name="connsiteX1" fmla="*/ 6559244 w 6559244"/>
                <a:gd name="connsiteY1" fmla="*/ 54570 h 461474"/>
                <a:gd name="connsiteX2" fmla="*/ 6559244 w 6559244"/>
                <a:gd name="connsiteY2" fmla="*/ 415116 h 461474"/>
                <a:gd name="connsiteX3" fmla="*/ 6516 w 6559244"/>
                <a:gd name="connsiteY3" fmla="*/ 415116 h 461474"/>
                <a:gd name="connsiteX4" fmla="*/ 6515 w 6559244"/>
                <a:gd name="connsiteY4" fmla="*/ 342602 h 461474"/>
                <a:gd name="connsiteX5" fmla="*/ 222539 w 6559244"/>
                <a:gd name="connsiteY5" fmla="*/ 198586 h 461474"/>
                <a:gd name="connsiteX6" fmla="*/ 6515 w 6559244"/>
                <a:gd name="connsiteY6" fmla="*/ 126577 h 461474"/>
                <a:gd name="connsiteX7" fmla="*/ 6516 w 6559244"/>
                <a:gd name="connsiteY7" fmla="*/ 54570 h 46147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22539 w 6559244"/>
                <a:gd name="connsiteY5" fmla="*/ 144016 h 406904"/>
                <a:gd name="connsiteX6" fmla="*/ 150531 w 6559244"/>
                <a:gd name="connsiteY6" fmla="*/ 72008 h 406904"/>
                <a:gd name="connsiteX7" fmla="*/ 6515 w 6559244"/>
                <a:gd name="connsiteY7" fmla="*/ 72007 h 406904"/>
                <a:gd name="connsiteX8" fmla="*/ 6516 w 6559244"/>
                <a:gd name="connsiteY8"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22539 w 6559244"/>
                <a:gd name="connsiteY5" fmla="*/ 144016 h 406904"/>
                <a:gd name="connsiteX6" fmla="*/ 150531 w 6559244"/>
                <a:gd name="connsiteY6" fmla="*/ 72008 h 406904"/>
                <a:gd name="connsiteX7" fmla="*/ 6515 w 6559244"/>
                <a:gd name="connsiteY7" fmla="*/ 144016 h 406904"/>
                <a:gd name="connsiteX8" fmla="*/ 6516 w 6559244"/>
                <a:gd name="connsiteY8"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22539 w 6559244"/>
                <a:gd name="connsiteY5" fmla="*/ 144016 h 406904"/>
                <a:gd name="connsiteX6" fmla="*/ 150531 w 6559244"/>
                <a:gd name="connsiteY6" fmla="*/ 72008 h 406904"/>
                <a:gd name="connsiteX7" fmla="*/ 6515 w 6559244"/>
                <a:gd name="connsiteY7" fmla="*/ 144016 h 406904"/>
                <a:gd name="connsiteX8" fmla="*/ 6516 w 6559244"/>
                <a:gd name="connsiteY8"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22539 w 6559244"/>
                <a:gd name="connsiteY5" fmla="*/ 144016 h 406904"/>
                <a:gd name="connsiteX6" fmla="*/ 150531 w 6559244"/>
                <a:gd name="connsiteY6" fmla="*/ 72008 h 406904"/>
                <a:gd name="connsiteX7" fmla="*/ 6515 w 6559244"/>
                <a:gd name="connsiteY7" fmla="*/ 144016 h 406904"/>
                <a:gd name="connsiteX8" fmla="*/ 6516 w 6559244"/>
                <a:gd name="connsiteY8"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94547 w 6559244"/>
                <a:gd name="connsiteY5" fmla="*/ 144016 h 406904"/>
                <a:gd name="connsiteX6" fmla="*/ 150531 w 6559244"/>
                <a:gd name="connsiteY6" fmla="*/ 72008 h 406904"/>
                <a:gd name="connsiteX7" fmla="*/ 6515 w 6559244"/>
                <a:gd name="connsiteY7" fmla="*/ 144016 h 406904"/>
                <a:gd name="connsiteX8" fmla="*/ 6516 w 6559244"/>
                <a:gd name="connsiteY8" fmla="*/ 0 h 406904"/>
                <a:gd name="connsiteX0" fmla="*/ 6516 w 6559244"/>
                <a:gd name="connsiteY0" fmla="*/ 33722 h 440626"/>
                <a:gd name="connsiteX1" fmla="*/ 6559244 w 6559244"/>
                <a:gd name="connsiteY1" fmla="*/ 33722 h 440626"/>
                <a:gd name="connsiteX2" fmla="*/ 6559244 w 6559244"/>
                <a:gd name="connsiteY2" fmla="*/ 394268 h 440626"/>
                <a:gd name="connsiteX3" fmla="*/ 6516 w 6559244"/>
                <a:gd name="connsiteY3" fmla="*/ 394268 h 440626"/>
                <a:gd name="connsiteX4" fmla="*/ 6515 w 6559244"/>
                <a:gd name="connsiteY4" fmla="*/ 321754 h 440626"/>
                <a:gd name="connsiteX5" fmla="*/ 294547 w 6559244"/>
                <a:gd name="connsiteY5" fmla="*/ 177738 h 440626"/>
                <a:gd name="connsiteX6" fmla="*/ 150531 w 6559244"/>
                <a:gd name="connsiteY6" fmla="*/ 105730 h 440626"/>
                <a:gd name="connsiteX7" fmla="*/ 6515 w 6559244"/>
                <a:gd name="connsiteY7" fmla="*/ 177738 h 440626"/>
                <a:gd name="connsiteX8" fmla="*/ 6516 w 6559244"/>
                <a:gd name="connsiteY8" fmla="*/ 33722 h 440626"/>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94547 w 6559244"/>
                <a:gd name="connsiteY5" fmla="*/ 144016 h 406904"/>
                <a:gd name="connsiteX6" fmla="*/ 6515 w 6559244"/>
                <a:gd name="connsiteY6" fmla="*/ 144016 h 406904"/>
                <a:gd name="connsiteX7" fmla="*/ 6516 w 6559244"/>
                <a:gd name="connsiteY7"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94547 w 6559244"/>
                <a:gd name="connsiteY5" fmla="*/ 144016 h 406904"/>
                <a:gd name="connsiteX6" fmla="*/ 6515 w 6559244"/>
                <a:gd name="connsiteY6" fmla="*/ 144016 h 406904"/>
                <a:gd name="connsiteX7" fmla="*/ 6516 w 6559244"/>
                <a:gd name="connsiteY7"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94547 w 6559244"/>
                <a:gd name="connsiteY5" fmla="*/ 144016 h 406904"/>
                <a:gd name="connsiteX6" fmla="*/ 6515 w 6559244"/>
                <a:gd name="connsiteY6" fmla="*/ 144016 h 406904"/>
                <a:gd name="connsiteX7" fmla="*/ 6516 w 6559244"/>
                <a:gd name="connsiteY7" fmla="*/ 0 h 406904"/>
                <a:gd name="connsiteX0" fmla="*/ 6516 w 6559244"/>
                <a:gd name="connsiteY0" fmla="*/ 100550 h 507454"/>
                <a:gd name="connsiteX1" fmla="*/ 6559244 w 6559244"/>
                <a:gd name="connsiteY1" fmla="*/ 100550 h 507454"/>
                <a:gd name="connsiteX2" fmla="*/ 6559244 w 6559244"/>
                <a:gd name="connsiteY2" fmla="*/ 461096 h 507454"/>
                <a:gd name="connsiteX3" fmla="*/ 6516 w 6559244"/>
                <a:gd name="connsiteY3" fmla="*/ 461096 h 507454"/>
                <a:gd name="connsiteX4" fmla="*/ 6515 w 6559244"/>
                <a:gd name="connsiteY4" fmla="*/ 388582 h 507454"/>
                <a:gd name="connsiteX5" fmla="*/ 294547 w 6559244"/>
                <a:gd name="connsiteY5" fmla="*/ 244566 h 507454"/>
                <a:gd name="connsiteX6" fmla="*/ 6515 w 6559244"/>
                <a:gd name="connsiteY6" fmla="*/ 244566 h 507454"/>
                <a:gd name="connsiteX7" fmla="*/ 6516 w 6559244"/>
                <a:gd name="connsiteY7" fmla="*/ 100550 h 507454"/>
                <a:gd name="connsiteX0" fmla="*/ 6516 w 6559244"/>
                <a:gd name="connsiteY0" fmla="*/ 100550 h 612204"/>
                <a:gd name="connsiteX1" fmla="*/ 6559244 w 6559244"/>
                <a:gd name="connsiteY1" fmla="*/ 100550 h 612204"/>
                <a:gd name="connsiteX2" fmla="*/ 6559244 w 6559244"/>
                <a:gd name="connsiteY2" fmla="*/ 461096 h 612204"/>
                <a:gd name="connsiteX3" fmla="*/ 6516 w 6559244"/>
                <a:gd name="connsiteY3" fmla="*/ 461096 h 612204"/>
                <a:gd name="connsiteX4" fmla="*/ 6515 w 6559244"/>
                <a:gd name="connsiteY4" fmla="*/ 388582 h 612204"/>
                <a:gd name="connsiteX5" fmla="*/ 294547 w 6559244"/>
                <a:gd name="connsiteY5" fmla="*/ 244566 h 612204"/>
                <a:gd name="connsiteX6" fmla="*/ 6515 w 6559244"/>
                <a:gd name="connsiteY6" fmla="*/ 244566 h 612204"/>
                <a:gd name="connsiteX7" fmla="*/ 6516 w 6559244"/>
                <a:gd name="connsiteY7" fmla="*/ 100550 h 612204"/>
                <a:gd name="connsiteX0" fmla="*/ 6516 w 6559244"/>
                <a:gd name="connsiteY0" fmla="*/ 100550 h 612204"/>
                <a:gd name="connsiteX1" fmla="*/ 6559244 w 6559244"/>
                <a:gd name="connsiteY1" fmla="*/ 100550 h 612204"/>
                <a:gd name="connsiteX2" fmla="*/ 6559244 w 6559244"/>
                <a:gd name="connsiteY2" fmla="*/ 461096 h 612204"/>
                <a:gd name="connsiteX3" fmla="*/ 6516 w 6559244"/>
                <a:gd name="connsiteY3" fmla="*/ 461096 h 612204"/>
                <a:gd name="connsiteX4" fmla="*/ 6515 w 6559244"/>
                <a:gd name="connsiteY4" fmla="*/ 388582 h 612204"/>
                <a:gd name="connsiteX5" fmla="*/ 366555 w 6559244"/>
                <a:gd name="connsiteY5" fmla="*/ 244566 h 612204"/>
                <a:gd name="connsiteX6" fmla="*/ 6515 w 6559244"/>
                <a:gd name="connsiteY6" fmla="*/ 244566 h 612204"/>
                <a:gd name="connsiteX7" fmla="*/ 6516 w 6559244"/>
                <a:gd name="connsiteY7" fmla="*/ 100550 h 612204"/>
                <a:gd name="connsiteX0" fmla="*/ 6516 w 6559244"/>
                <a:gd name="connsiteY0" fmla="*/ 189450 h 701104"/>
                <a:gd name="connsiteX1" fmla="*/ 6559244 w 6559244"/>
                <a:gd name="connsiteY1" fmla="*/ 189450 h 701104"/>
                <a:gd name="connsiteX2" fmla="*/ 6559244 w 6559244"/>
                <a:gd name="connsiteY2" fmla="*/ 549996 h 701104"/>
                <a:gd name="connsiteX3" fmla="*/ 6516 w 6559244"/>
                <a:gd name="connsiteY3" fmla="*/ 549996 h 701104"/>
                <a:gd name="connsiteX4" fmla="*/ 6515 w 6559244"/>
                <a:gd name="connsiteY4" fmla="*/ 477482 h 701104"/>
                <a:gd name="connsiteX5" fmla="*/ 366555 w 6559244"/>
                <a:gd name="connsiteY5" fmla="*/ 333466 h 701104"/>
                <a:gd name="connsiteX6" fmla="*/ 6515 w 6559244"/>
                <a:gd name="connsiteY6" fmla="*/ 333466 h 701104"/>
                <a:gd name="connsiteX7" fmla="*/ 6516 w 6559244"/>
                <a:gd name="connsiteY7" fmla="*/ 189450 h 701104"/>
                <a:gd name="connsiteX0" fmla="*/ 6516 w 6559244"/>
                <a:gd name="connsiteY0" fmla="*/ 100997 h 612651"/>
                <a:gd name="connsiteX1" fmla="*/ 6559244 w 6559244"/>
                <a:gd name="connsiteY1" fmla="*/ 100997 h 612651"/>
                <a:gd name="connsiteX2" fmla="*/ 6559244 w 6559244"/>
                <a:gd name="connsiteY2" fmla="*/ 461543 h 612651"/>
                <a:gd name="connsiteX3" fmla="*/ 6516 w 6559244"/>
                <a:gd name="connsiteY3" fmla="*/ 461543 h 612651"/>
                <a:gd name="connsiteX4" fmla="*/ 6515 w 6559244"/>
                <a:gd name="connsiteY4" fmla="*/ 389029 h 612651"/>
                <a:gd name="connsiteX5" fmla="*/ 366555 w 6559244"/>
                <a:gd name="connsiteY5" fmla="*/ 245013 h 612651"/>
                <a:gd name="connsiteX6" fmla="*/ 6515 w 6559244"/>
                <a:gd name="connsiteY6" fmla="*/ 245013 h 612651"/>
                <a:gd name="connsiteX7" fmla="*/ 6516 w 6559244"/>
                <a:gd name="connsiteY7" fmla="*/ 100997 h 612651"/>
                <a:gd name="connsiteX0" fmla="*/ 6516 w 6559244"/>
                <a:gd name="connsiteY0" fmla="*/ 100997 h 578718"/>
                <a:gd name="connsiteX1" fmla="*/ 6559244 w 6559244"/>
                <a:gd name="connsiteY1" fmla="*/ 100997 h 578718"/>
                <a:gd name="connsiteX2" fmla="*/ 6559244 w 6559244"/>
                <a:gd name="connsiteY2" fmla="*/ 461543 h 578718"/>
                <a:gd name="connsiteX3" fmla="*/ 6516 w 6559244"/>
                <a:gd name="connsiteY3" fmla="*/ 461543 h 578718"/>
                <a:gd name="connsiteX4" fmla="*/ 6515 w 6559244"/>
                <a:gd name="connsiteY4" fmla="*/ 389029 h 578718"/>
                <a:gd name="connsiteX5" fmla="*/ 366555 w 6559244"/>
                <a:gd name="connsiteY5" fmla="*/ 245013 h 578718"/>
                <a:gd name="connsiteX6" fmla="*/ 6515 w 6559244"/>
                <a:gd name="connsiteY6" fmla="*/ 245013 h 578718"/>
                <a:gd name="connsiteX7" fmla="*/ 6516 w 6559244"/>
                <a:gd name="connsiteY7" fmla="*/ 100997 h 578718"/>
                <a:gd name="connsiteX0" fmla="*/ 6516 w 6559244"/>
                <a:gd name="connsiteY0" fmla="*/ 100997 h 578718"/>
                <a:gd name="connsiteX1" fmla="*/ 6559244 w 6559244"/>
                <a:gd name="connsiteY1" fmla="*/ 100997 h 578718"/>
                <a:gd name="connsiteX2" fmla="*/ 6559244 w 6559244"/>
                <a:gd name="connsiteY2" fmla="*/ 461543 h 578718"/>
                <a:gd name="connsiteX3" fmla="*/ 6516 w 6559244"/>
                <a:gd name="connsiteY3" fmla="*/ 461543 h 578718"/>
                <a:gd name="connsiteX4" fmla="*/ 6515 w 6559244"/>
                <a:gd name="connsiteY4" fmla="*/ 389029 h 578718"/>
                <a:gd name="connsiteX5" fmla="*/ 366555 w 6559244"/>
                <a:gd name="connsiteY5" fmla="*/ 245013 h 578718"/>
                <a:gd name="connsiteX6" fmla="*/ 6515 w 6559244"/>
                <a:gd name="connsiteY6" fmla="*/ 245013 h 578718"/>
                <a:gd name="connsiteX7" fmla="*/ 6516 w 6559244"/>
                <a:gd name="connsiteY7" fmla="*/ 100997 h 578718"/>
                <a:gd name="connsiteX0" fmla="*/ 6516 w 6559244"/>
                <a:gd name="connsiteY0" fmla="*/ 100997 h 578718"/>
                <a:gd name="connsiteX1" fmla="*/ 6559244 w 6559244"/>
                <a:gd name="connsiteY1" fmla="*/ 100997 h 578718"/>
                <a:gd name="connsiteX2" fmla="*/ 6559244 w 6559244"/>
                <a:gd name="connsiteY2" fmla="*/ 461543 h 578718"/>
                <a:gd name="connsiteX3" fmla="*/ 6516 w 6559244"/>
                <a:gd name="connsiteY3" fmla="*/ 461543 h 578718"/>
                <a:gd name="connsiteX4" fmla="*/ 6515 w 6559244"/>
                <a:gd name="connsiteY4" fmla="*/ 389029 h 578718"/>
                <a:gd name="connsiteX5" fmla="*/ 366555 w 6559244"/>
                <a:gd name="connsiteY5" fmla="*/ 245013 h 578718"/>
                <a:gd name="connsiteX6" fmla="*/ 6515 w 6559244"/>
                <a:gd name="connsiteY6" fmla="*/ 245013 h 578718"/>
                <a:gd name="connsiteX7" fmla="*/ 6516 w 6559244"/>
                <a:gd name="connsiteY7" fmla="*/ 100997 h 578718"/>
                <a:gd name="connsiteX0" fmla="*/ 6516 w 6559244"/>
                <a:gd name="connsiteY0" fmla="*/ 100997 h 578718"/>
                <a:gd name="connsiteX1" fmla="*/ 6559244 w 6559244"/>
                <a:gd name="connsiteY1" fmla="*/ 100997 h 578718"/>
                <a:gd name="connsiteX2" fmla="*/ 6559244 w 6559244"/>
                <a:gd name="connsiteY2" fmla="*/ 461543 h 578718"/>
                <a:gd name="connsiteX3" fmla="*/ 6516 w 6559244"/>
                <a:gd name="connsiteY3" fmla="*/ 461543 h 578718"/>
                <a:gd name="connsiteX4" fmla="*/ 6515 w 6559244"/>
                <a:gd name="connsiteY4" fmla="*/ 389029 h 578718"/>
                <a:gd name="connsiteX5" fmla="*/ 366555 w 6559244"/>
                <a:gd name="connsiteY5" fmla="*/ 245013 h 578718"/>
                <a:gd name="connsiteX6" fmla="*/ 6515 w 6559244"/>
                <a:gd name="connsiteY6" fmla="*/ 173005 h 578718"/>
                <a:gd name="connsiteX7" fmla="*/ 6516 w 6559244"/>
                <a:gd name="connsiteY7" fmla="*/ 100997 h 578718"/>
                <a:gd name="connsiteX0" fmla="*/ 6516 w 6559244"/>
                <a:gd name="connsiteY0" fmla="*/ 100997 h 578718"/>
                <a:gd name="connsiteX1" fmla="*/ 6559244 w 6559244"/>
                <a:gd name="connsiteY1" fmla="*/ 100997 h 578718"/>
                <a:gd name="connsiteX2" fmla="*/ 6559244 w 6559244"/>
                <a:gd name="connsiteY2" fmla="*/ 461543 h 578718"/>
                <a:gd name="connsiteX3" fmla="*/ 6516 w 6559244"/>
                <a:gd name="connsiteY3" fmla="*/ 461543 h 578718"/>
                <a:gd name="connsiteX4" fmla="*/ 6515 w 6559244"/>
                <a:gd name="connsiteY4" fmla="*/ 389029 h 578718"/>
                <a:gd name="connsiteX5" fmla="*/ 294547 w 6559244"/>
                <a:gd name="connsiteY5" fmla="*/ 245013 h 578718"/>
                <a:gd name="connsiteX6" fmla="*/ 6515 w 6559244"/>
                <a:gd name="connsiteY6" fmla="*/ 173005 h 578718"/>
                <a:gd name="connsiteX7" fmla="*/ 6516 w 6559244"/>
                <a:gd name="connsiteY7" fmla="*/ 100997 h 578718"/>
                <a:gd name="connsiteX0" fmla="*/ 6516 w 6559244"/>
                <a:gd name="connsiteY0" fmla="*/ 132747 h 610468"/>
                <a:gd name="connsiteX1" fmla="*/ 6559244 w 6559244"/>
                <a:gd name="connsiteY1" fmla="*/ 132747 h 610468"/>
                <a:gd name="connsiteX2" fmla="*/ 6559244 w 6559244"/>
                <a:gd name="connsiteY2" fmla="*/ 493293 h 610468"/>
                <a:gd name="connsiteX3" fmla="*/ 6516 w 6559244"/>
                <a:gd name="connsiteY3" fmla="*/ 493293 h 610468"/>
                <a:gd name="connsiteX4" fmla="*/ 6515 w 6559244"/>
                <a:gd name="connsiteY4" fmla="*/ 420779 h 610468"/>
                <a:gd name="connsiteX5" fmla="*/ 294547 w 6559244"/>
                <a:gd name="connsiteY5" fmla="*/ 276763 h 610468"/>
                <a:gd name="connsiteX6" fmla="*/ 6515 w 6559244"/>
                <a:gd name="connsiteY6" fmla="*/ 204755 h 610468"/>
                <a:gd name="connsiteX7" fmla="*/ 6516 w 6559244"/>
                <a:gd name="connsiteY7" fmla="*/ 132747 h 610468"/>
                <a:gd name="connsiteX0" fmla="*/ 6516 w 6559244"/>
                <a:gd name="connsiteY0" fmla="*/ 78202 h 555923"/>
                <a:gd name="connsiteX1" fmla="*/ 6559244 w 6559244"/>
                <a:gd name="connsiteY1" fmla="*/ 78202 h 555923"/>
                <a:gd name="connsiteX2" fmla="*/ 6559244 w 6559244"/>
                <a:gd name="connsiteY2" fmla="*/ 438748 h 555923"/>
                <a:gd name="connsiteX3" fmla="*/ 6516 w 6559244"/>
                <a:gd name="connsiteY3" fmla="*/ 438748 h 555923"/>
                <a:gd name="connsiteX4" fmla="*/ 6515 w 6559244"/>
                <a:gd name="connsiteY4" fmla="*/ 366234 h 555923"/>
                <a:gd name="connsiteX5" fmla="*/ 294547 w 6559244"/>
                <a:gd name="connsiteY5" fmla="*/ 222218 h 555923"/>
                <a:gd name="connsiteX6" fmla="*/ 6515 w 6559244"/>
                <a:gd name="connsiteY6" fmla="*/ 150210 h 555923"/>
                <a:gd name="connsiteX7" fmla="*/ 6516 w 6559244"/>
                <a:gd name="connsiteY7" fmla="*/ 78202 h 555923"/>
                <a:gd name="connsiteX0" fmla="*/ 6516 w 6559244"/>
                <a:gd name="connsiteY0" fmla="*/ 78202 h 529134"/>
                <a:gd name="connsiteX1" fmla="*/ 6559244 w 6559244"/>
                <a:gd name="connsiteY1" fmla="*/ 78202 h 529134"/>
                <a:gd name="connsiteX2" fmla="*/ 6559244 w 6559244"/>
                <a:gd name="connsiteY2" fmla="*/ 438748 h 529134"/>
                <a:gd name="connsiteX3" fmla="*/ 6516 w 6559244"/>
                <a:gd name="connsiteY3" fmla="*/ 438748 h 529134"/>
                <a:gd name="connsiteX4" fmla="*/ 6515 w 6559244"/>
                <a:gd name="connsiteY4" fmla="*/ 366234 h 529134"/>
                <a:gd name="connsiteX5" fmla="*/ 294547 w 6559244"/>
                <a:gd name="connsiteY5" fmla="*/ 222218 h 529134"/>
                <a:gd name="connsiteX6" fmla="*/ 6515 w 6559244"/>
                <a:gd name="connsiteY6" fmla="*/ 150210 h 529134"/>
                <a:gd name="connsiteX7" fmla="*/ 6516 w 6559244"/>
                <a:gd name="connsiteY7" fmla="*/ 78202 h 529134"/>
                <a:gd name="connsiteX0" fmla="*/ 6516 w 6559244"/>
                <a:gd name="connsiteY0" fmla="*/ 12388 h 529134"/>
                <a:gd name="connsiteX1" fmla="*/ 6559244 w 6559244"/>
                <a:gd name="connsiteY1" fmla="*/ 12388 h 529134"/>
                <a:gd name="connsiteX2" fmla="*/ 6559244 w 6559244"/>
                <a:gd name="connsiteY2" fmla="*/ 372934 h 529134"/>
                <a:gd name="connsiteX3" fmla="*/ 6516 w 6559244"/>
                <a:gd name="connsiteY3" fmla="*/ 372934 h 529134"/>
                <a:gd name="connsiteX4" fmla="*/ 6515 w 6559244"/>
                <a:gd name="connsiteY4" fmla="*/ 300420 h 529134"/>
                <a:gd name="connsiteX5" fmla="*/ 288032 w 6559244"/>
                <a:gd name="connsiteY5" fmla="*/ 222218 h 529134"/>
                <a:gd name="connsiteX6" fmla="*/ 6515 w 6559244"/>
                <a:gd name="connsiteY6" fmla="*/ 84396 h 529134"/>
                <a:gd name="connsiteX7" fmla="*/ 6516 w 6559244"/>
                <a:gd name="connsiteY7" fmla="*/ 12388 h 529134"/>
                <a:gd name="connsiteX0" fmla="*/ 6516 w 6559244"/>
                <a:gd name="connsiteY0" fmla="*/ 70902 h 587648"/>
                <a:gd name="connsiteX1" fmla="*/ 6559244 w 6559244"/>
                <a:gd name="connsiteY1" fmla="*/ 70902 h 587648"/>
                <a:gd name="connsiteX2" fmla="*/ 6559244 w 6559244"/>
                <a:gd name="connsiteY2" fmla="*/ 431448 h 587648"/>
                <a:gd name="connsiteX3" fmla="*/ 6516 w 6559244"/>
                <a:gd name="connsiteY3" fmla="*/ 431448 h 587648"/>
                <a:gd name="connsiteX4" fmla="*/ 6515 w 6559244"/>
                <a:gd name="connsiteY4" fmla="*/ 358934 h 587648"/>
                <a:gd name="connsiteX5" fmla="*/ 288032 w 6559244"/>
                <a:gd name="connsiteY5" fmla="*/ 280732 h 587648"/>
                <a:gd name="connsiteX6" fmla="*/ 6515 w 6559244"/>
                <a:gd name="connsiteY6" fmla="*/ 142910 h 587648"/>
                <a:gd name="connsiteX7" fmla="*/ 6516 w 6559244"/>
                <a:gd name="connsiteY7" fmla="*/ 70902 h 587648"/>
                <a:gd name="connsiteX0" fmla="*/ 6516 w 6559244"/>
                <a:gd name="connsiteY0" fmla="*/ 155040 h 671786"/>
                <a:gd name="connsiteX1" fmla="*/ 6559244 w 6559244"/>
                <a:gd name="connsiteY1" fmla="*/ 155040 h 671786"/>
                <a:gd name="connsiteX2" fmla="*/ 6559244 w 6559244"/>
                <a:gd name="connsiteY2" fmla="*/ 515586 h 671786"/>
                <a:gd name="connsiteX3" fmla="*/ 6516 w 6559244"/>
                <a:gd name="connsiteY3" fmla="*/ 515586 h 671786"/>
                <a:gd name="connsiteX4" fmla="*/ 6515 w 6559244"/>
                <a:gd name="connsiteY4" fmla="*/ 443072 h 671786"/>
                <a:gd name="connsiteX5" fmla="*/ 288032 w 6559244"/>
                <a:gd name="connsiteY5" fmla="*/ 364870 h 671786"/>
                <a:gd name="connsiteX6" fmla="*/ 6515 w 6559244"/>
                <a:gd name="connsiteY6" fmla="*/ 227048 h 671786"/>
                <a:gd name="connsiteX7" fmla="*/ 6516 w 6559244"/>
                <a:gd name="connsiteY7" fmla="*/ 155040 h 671786"/>
                <a:gd name="connsiteX0" fmla="*/ 6516 w 6559244"/>
                <a:gd name="connsiteY0" fmla="*/ 88588 h 605334"/>
                <a:gd name="connsiteX1" fmla="*/ 6559244 w 6559244"/>
                <a:gd name="connsiteY1" fmla="*/ 88588 h 605334"/>
                <a:gd name="connsiteX2" fmla="*/ 6559244 w 6559244"/>
                <a:gd name="connsiteY2" fmla="*/ 449134 h 605334"/>
                <a:gd name="connsiteX3" fmla="*/ 6516 w 6559244"/>
                <a:gd name="connsiteY3" fmla="*/ 449134 h 605334"/>
                <a:gd name="connsiteX4" fmla="*/ 6515 w 6559244"/>
                <a:gd name="connsiteY4" fmla="*/ 376620 h 605334"/>
                <a:gd name="connsiteX5" fmla="*/ 288032 w 6559244"/>
                <a:gd name="connsiteY5" fmla="*/ 298418 h 605334"/>
                <a:gd name="connsiteX6" fmla="*/ 6515 w 6559244"/>
                <a:gd name="connsiteY6" fmla="*/ 160596 h 605334"/>
                <a:gd name="connsiteX7" fmla="*/ 6516 w 6559244"/>
                <a:gd name="connsiteY7" fmla="*/ 88588 h 605334"/>
                <a:gd name="connsiteX0" fmla="*/ 6516 w 6559244"/>
                <a:gd name="connsiteY0" fmla="*/ 88588 h 597595"/>
                <a:gd name="connsiteX1" fmla="*/ 6559244 w 6559244"/>
                <a:gd name="connsiteY1" fmla="*/ 88588 h 597595"/>
                <a:gd name="connsiteX2" fmla="*/ 6559244 w 6559244"/>
                <a:gd name="connsiteY2" fmla="*/ 449134 h 597595"/>
                <a:gd name="connsiteX3" fmla="*/ 6516 w 6559244"/>
                <a:gd name="connsiteY3" fmla="*/ 449134 h 597595"/>
                <a:gd name="connsiteX4" fmla="*/ 6515 w 6559244"/>
                <a:gd name="connsiteY4" fmla="*/ 376620 h 597595"/>
                <a:gd name="connsiteX5" fmla="*/ 288032 w 6559244"/>
                <a:gd name="connsiteY5" fmla="*/ 298418 h 597595"/>
                <a:gd name="connsiteX6" fmla="*/ 6515 w 6559244"/>
                <a:gd name="connsiteY6" fmla="*/ 160596 h 597595"/>
                <a:gd name="connsiteX7" fmla="*/ 6516 w 6559244"/>
                <a:gd name="connsiteY7" fmla="*/ 88588 h 597595"/>
                <a:gd name="connsiteX0" fmla="*/ 6516 w 6559244"/>
                <a:gd name="connsiteY0" fmla="*/ 103669 h 612676"/>
                <a:gd name="connsiteX1" fmla="*/ 6559244 w 6559244"/>
                <a:gd name="connsiteY1" fmla="*/ 103669 h 612676"/>
                <a:gd name="connsiteX2" fmla="*/ 6559244 w 6559244"/>
                <a:gd name="connsiteY2" fmla="*/ 464215 h 612676"/>
                <a:gd name="connsiteX3" fmla="*/ 6516 w 6559244"/>
                <a:gd name="connsiteY3" fmla="*/ 464215 h 612676"/>
                <a:gd name="connsiteX4" fmla="*/ 6515 w 6559244"/>
                <a:gd name="connsiteY4" fmla="*/ 391701 h 612676"/>
                <a:gd name="connsiteX5" fmla="*/ 288032 w 6559244"/>
                <a:gd name="connsiteY5" fmla="*/ 313499 h 612676"/>
                <a:gd name="connsiteX6" fmla="*/ 6515 w 6559244"/>
                <a:gd name="connsiteY6" fmla="*/ 175677 h 612676"/>
                <a:gd name="connsiteX7" fmla="*/ 6516 w 6559244"/>
                <a:gd name="connsiteY7" fmla="*/ 103669 h 612676"/>
                <a:gd name="connsiteX0" fmla="*/ 6516 w 6559244"/>
                <a:gd name="connsiteY0" fmla="*/ 102082 h 611089"/>
                <a:gd name="connsiteX1" fmla="*/ 6559244 w 6559244"/>
                <a:gd name="connsiteY1" fmla="*/ 102082 h 611089"/>
                <a:gd name="connsiteX2" fmla="*/ 6559244 w 6559244"/>
                <a:gd name="connsiteY2" fmla="*/ 462628 h 611089"/>
                <a:gd name="connsiteX3" fmla="*/ 6516 w 6559244"/>
                <a:gd name="connsiteY3" fmla="*/ 462628 h 611089"/>
                <a:gd name="connsiteX4" fmla="*/ 6515 w 6559244"/>
                <a:gd name="connsiteY4" fmla="*/ 390114 h 611089"/>
                <a:gd name="connsiteX5" fmla="*/ 288032 w 6559244"/>
                <a:gd name="connsiteY5" fmla="*/ 311912 h 611089"/>
                <a:gd name="connsiteX6" fmla="*/ 6515 w 6559244"/>
                <a:gd name="connsiteY6" fmla="*/ 174090 h 611089"/>
                <a:gd name="connsiteX7" fmla="*/ 6516 w 6559244"/>
                <a:gd name="connsiteY7" fmla="*/ 102082 h 611089"/>
                <a:gd name="connsiteX0" fmla="*/ 6516 w 6559244"/>
                <a:gd name="connsiteY0" fmla="*/ 102082 h 586681"/>
                <a:gd name="connsiteX1" fmla="*/ 6559244 w 6559244"/>
                <a:gd name="connsiteY1" fmla="*/ 102082 h 586681"/>
                <a:gd name="connsiteX2" fmla="*/ 6559244 w 6559244"/>
                <a:gd name="connsiteY2" fmla="*/ 462628 h 586681"/>
                <a:gd name="connsiteX3" fmla="*/ 6516 w 6559244"/>
                <a:gd name="connsiteY3" fmla="*/ 462628 h 586681"/>
                <a:gd name="connsiteX4" fmla="*/ 6515 w 6559244"/>
                <a:gd name="connsiteY4" fmla="*/ 390114 h 586681"/>
                <a:gd name="connsiteX5" fmla="*/ 288032 w 6559244"/>
                <a:gd name="connsiteY5" fmla="*/ 311912 h 586681"/>
                <a:gd name="connsiteX6" fmla="*/ 6515 w 6559244"/>
                <a:gd name="connsiteY6" fmla="*/ 174090 h 586681"/>
                <a:gd name="connsiteX7" fmla="*/ 6516 w 6559244"/>
                <a:gd name="connsiteY7" fmla="*/ 102082 h 586681"/>
                <a:gd name="connsiteX0" fmla="*/ 6516 w 6559244"/>
                <a:gd name="connsiteY0" fmla="*/ 124307 h 608906"/>
                <a:gd name="connsiteX1" fmla="*/ 6559244 w 6559244"/>
                <a:gd name="connsiteY1" fmla="*/ 124307 h 608906"/>
                <a:gd name="connsiteX2" fmla="*/ 6559244 w 6559244"/>
                <a:gd name="connsiteY2" fmla="*/ 484853 h 608906"/>
                <a:gd name="connsiteX3" fmla="*/ 6516 w 6559244"/>
                <a:gd name="connsiteY3" fmla="*/ 484853 h 608906"/>
                <a:gd name="connsiteX4" fmla="*/ 6515 w 6559244"/>
                <a:gd name="connsiteY4" fmla="*/ 412339 h 608906"/>
                <a:gd name="connsiteX5" fmla="*/ 288032 w 6559244"/>
                <a:gd name="connsiteY5" fmla="*/ 334137 h 608906"/>
                <a:gd name="connsiteX6" fmla="*/ 6515 w 6559244"/>
                <a:gd name="connsiteY6" fmla="*/ 196315 h 608906"/>
                <a:gd name="connsiteX7" fmla="*/ 6516 w 6559244"/>
                <a:gd name="connsiteY7" fmla="*/ 124307 h 608906"/>
                <a:gd name="connsiteX0" fmla="*/ 6516 w 6559244"/>
                <a:gd name="connsiteY0" fmla="*/ 81668 h 566267"/>
                <a:gd name="connsiteX1" fmla="*/ 6559244 w 6559244"/>
                <a:gd name="connsiteY1" fmla="*/ 81668 h 566267"/>
                <a:gd name="connsiteX2" fmla="*/ 6559244 w 6559244"/>
                <a:gd name="connsiteY2" fmla="*/ 442214 h 566267"/>
                <a:gd name="connsiteX3" fmla="*/ 6516 w 6559244"/>
                <a:gd name="connsiteY3" fmla="*/ 442214 h 566267"/>
                <a:gd name="connsiteX4" fmla="*/ 6515 w 6559244"/>
                <a:gd name="connsiteY4" fmla="*/ 369700 h 566267"/>
                <a:gd name="connsiteX5" fmla="*/ 288032 w 6559244"/>
                <a:gd name="connsiteY5" fmla="*/ 291498 h 566267"/>
                <a:gd name="connsiteX6" fmla="*/ 6515 w 6559244"/>
                <a:gd name="connsiteY6" fmla="*/ 153676 h 566267"/>
                <a:gd name="connsiteX7" fmla="*/ 6516 w 6559244"/>
                <a:gd name="connsiteY7" fmla="*/ 81668 h 566267"/>
                <a:gd name="connsiteX0" fmla="*/ 6516 w 6559244"/>
                <a:gd name="connsiteY0" fmla="*/ 81668 h 520428"/>
                <a:gd name="connsiteX1" fmla="*/ 6559244 w 6559244"/>
                <a:gd name="connsiteY1" fmla="*/ 81668 h 520428"/>
                <a:gd name="connsiteX2" fmla="*/ 6559244 w 6559244"/>
                <a:gd name="connsiteY2" fmla="*/ 442214 h 520428"/>
                <a:gd name="connsiteX3" fmla="*/ 6516 w 6559244"/>
                <a:gd name="connsiteY3" fmla="*/ 442214 h 520428"/>
                <a:gd name="connsiteX4" fmla="*/ 6515 w 6559244"/>
                <a:gd name="connsiteY4" fmla="*/ 369700 h 520428"/>
                <a:gd name="connsiteX5" fmla="*/ 288032 w 6559244"/>
                <a:gd name="connsiteY5" fmla="*/ 291498 h 520428"/>
                <a:gd name="connsiteX6" fmla="*/ 6515 w 6559244"/>
                <a:gd name="connsiteY6" fmla="*/ 153676 h 520428"/>
                <a:gd name="connsiteX7" fmla="*/ 6516 w 6559244"/>
                <a:gd name="connsiteY7" fmla="*/ 81668 h 520428"/>
                <a:gd name="connsiteX0" fmla="*/ 6516 w 6559244"/>
                <a:gd name="connsiteY0" fmla="*/ 80081 h 518841"/>
                <a:gd name="connsiteX1" fmla="*/ 6559244 w 6559244"/>
                <a:gd name="connsiteY1" fmla="*/ 80081 h 518841"/>
                <a:gd name="connsiteX2" fmla="*/ 6559244 w 6559244"/>
                <a:gd name="connsiteY2" fmla="*/ 440627 h 518841"/>
                <a:gd name="connsiteX3" fmla="*/ 6516 w 6559244"/>
                <a:gd name="connsiteY3" fmla="*/ 440627 h 518841"/>
                <a:gd name="connsiteX4" fmla="*/ 6515 w 6559244"/>
                <a:gd name="connsiteY4" fmla="*/ 368113 h 518841"/>
                <a:gd name="connsiteX5" fmla="*/ 288032 w 6559244"/>
                <a:gd name="connsiteY5" fmla="*/ 289911 h 518841"/>
                <a:gd name="connsiteX6" fmla="*/ 6515 w 6559244"/>
                <a:gd name="connsiteY6" fmla="*/ 152089 h 518841"/>
                <a:gd name="connsiteX7" fmla="*/ 6516 w 6559244"/>
                <a:gd name="connsiteY7" fmla="*/ 80081 h 518841"/>
                <a:gd name="connsiteX0" fmla="*/ 6516 w 6559244"/>
                <a:gd name="connsiteY0" fmla="*/ 80080 h 518841"/>
                <a:gd name="connsiteX1" fmla="*/ 6559244 w 6559244"/>
                <a:gd name="connsiteY1" fmla="*/ 80080 h 518841"/>
                <a:gd name="connsiteX2" fmla="*/ 6559244 w 6559244"/>
                <a:gd name="connsiteY2" fmla="*/ 440626 h 518841"/>
                <a:gd name="connsiteX3" fmla="*/ 6516 w 6559244"/>
                <a:gd name="connsiteY3" fmla="*/ 440626 h 518841"/>
                <a:gd name="connsiteX4" fmla="*/ 6515 w 6559244"/>
                <a:gd name="connsiteY4" fmla="*/ 368112 h 518841"/>
                <a:gd name="connsiteX5" fmla="*/ 288032 w 6559244"/>
                <a:gd name="connsiteY5" fmla="*/ 289911 h 518841"/>
                <a:gd name="connsiteX6" fmla="*/ 6515 w 6559244"/>
                <a:gd name="connsiteY6" fmla="*/ 152088 h 518841"/>
                <a:gd name="connsiteX7" fmla="*/ 6516 w 6559244"/>
                <a:gd name="connsiteY7" fmla="*/ 80080 h 518841"/>
                <a:gd name="connsiteX0" fmla="*/ 6516 w 6559244"/>
                <a:gd name="connsiteY0" fmla="*/ 152089 h 518841"/>
                <a:gd name="connsiteX1" fmla="*/ 6559244 w 6559244"/>
                <a:gd name="connsiteY1" fmla="*/ 152089 h 518841"/>
                <a:gd name="connsiteX2" fmla="*/ 6559244 w 6559244"/>
                <a:gd name="connsiteY2" fmla="*/ 512635 h 518841"/>
                <a:gd name="connsiteX3" fmla="*/ 6516 w 6559244"/>
                <a:gd name="connsiteY3" fmla="*/ 512635 h 518841"/>
                <a:gd name="connsiteX4" fmla="*/ 6515 w 6559244"/>
                <a:gd name="connsiteY4" fmla="*/ 440121 h 518841"/>
                <a:gd name="connsiteX5" fmla="*/ 288032 w 6559244"/>
                <a:gd name="connsiteY5" fmla="*/ 289911 h 518841"/>
                <a:gd name="connsiteX6" fmla="*/ 6515 w 6559244"/>
                <a:gd name="connsiteY6" fmla="*/ 224097 h 518841"/>
                <a:gd name="connsiteX7" fmla="*/ 6516 w 6559244"/>
                <a:gd name="connsiteY7" fmla="*/ 152089 h 518841"/>
                <a:gd name="connsiteX0" fmla="*/ 6516 w 6559244"/>
                <a:gd name="connsiteY0" fmla="*/ 152089 h 714649"/>
                <a:gd name="connsiteX1" fmla="*/ 6559244 w 6559244"/>
                <a:gd name="connsiteY1" fmla="*/ 152089 h 714649"/>
                <a:gd name="connsiteX2" fmla="*/ 6559244 w 6559244"/>
                <a:gd name="connsiteY2" fmla="*/ 512635 h 714649"/>
                <a:gd name="connsiteX3" fmla="*/ 6516 w 6559244"/>
                <a:gd name="connsiteY3" fmla="*/ 512635 h 714649"/>
                <a:gd name="connsiteX4" fmla="*/ 6515 w 6559244"/>
                <a:gd name="connsiteY4" fmla="*/ 440121 h 714649"/>
                <a:gd name="connsiteX5" fmla="*/ 288032 w 6559244"/>
                <a:gd name="connsiteY5" fmla="*/ 289911 h 714649"/>
                <a:gd name="connsiteX6" fmla="*/ 6515 w 6559244"/>
                <a:gd name="connsiteY6" fmla="*/ 224097 h 714649"/>
                <a:gd name="connsiteX7" fmla="*/ 6516 w 6559244"/>
                <a:gd name="connsiteY7" fmla="*/ 152089 h 714649"/>
                <a:gd name="connsiteX0" fmla="*/ 6516 w 6559244"/>
                <a:gd name="connsiteY0" fmla="*/ 47537 h 610097"/>
                <a:gd name="connsiteX1" fmla="*/ 6559244 w 6559244"/>
                <a:gd name="connsiteY1" fmla="*/ 47537 h 610097"/>
                <a:gd name="connsiteX2" fmla="*/ 6559244 w 6559244"/>
                <a:gd name="connsiteY2" fmla="*/ 408083 h 610097"/>
                <a:gd name="connsiteX3" fmla="*/ 6516 w 6559244"/>
                <a:gd name="connsiteY3" fmla="*/ 408083 h 610097"/>
                <a:gd name="connsiteX4" fmla="*/ 6515 w 6559244"/>
                <a:gd name="connsiteY4" fmla="*/ 335569 h 610097"/>
                <a:gd name="connsiteX5" fmla="*/ 288032 w 6559244"/>
                <a:gd name="connsiteY5" fmla="*/ 185359 h 610097"/>
                <a:gd name="connsiteX6" fmla="*/ 6515 w 6559244"/>
                <a:gd name="connsiteY6" fmla="*/ 119545 h 610097"/>
                <a:gd name="connsiteX7" fmla="*/ 6516 w 6559244"/>
                <a:gd name="connsiteY7" fmla="*/ 47537 h 610097"/>
                <a:gd name="connsiteX0" fmla="*/ 6516 w 6559244"/>
                <a:gd name="connsiteY0" fmla="*/ 47537 h 523206"/>
                <a:gd name="connsiteX1" fmla="*/ 6559244 w 6559244"/>
                <a:gd name="connsiteY1" fmla="*/ 47537 h 523206"/>
                <a:gd name="connsiteX2" fmla="*/ 6559244 w 6559244"/>
                <a:gd name="connsiteY2" fmla="*/ 408083 h 523206"/>
                <a:gd name="connsiteX3" fmla="*/ 6516 w 6559244"/>
                <a:gd name="connsiteY3" fmla="*/ 408083 h 523206"/>
                <a:gd name="connsiteX4" fmla="*/ 6515 w 6559244"/>
                <a:gd name="connsiteY4" fmla="*/ 335569 h 523206"/>
                <a:gd name="connsiteX5" fmla="*/ 288032 w 6559244"/>
                <a:gd name="connsiteY5" fmla="*/ 185359 h 523206"/>
                <a:gd name="connsiteX6" fmla="*/ 6515 w 6559244"/>
                <a:gd name="connsiteY6" fmla="*/ 119545 h 523206"/>
                <a:gd name="connsiteX7" fmla="*/ 6516 w 6559244"/>
                <a:gd name="connsiteY7" fmla="*/ 47537 h 523206"/>
                <a:gd name="connsiteX0" fmla="*/ 6516 w 6559244"/>
                <a:gd name="connsiteY0" fmla="*/ 0 h 547678"/>
                <a:gd name="connsiteX1" fmla="*/ 6559244 w 6559244"/>
                <a:gd name="connsiteY1" fmla="*/ 0 h 547678"/>
                <a:gd name="connsiteX2" fmla="*/ 6559244 w 6559244"/>
                <a:gd name="connsiteY2" fmla="*/ 360546 h 547678"/>
                <a:gd name="connsiteX3" fmla="*/ 6516 w 6559244"/>
                <a:gd name="connsiteY3" fmla="*/ 360546 h 547678"/>
                <a:gd name="connsiteX4" fmla="*/ 6515 w 6559244"/>
                <a:gd name="connsiteY4" fmla="*/ 288032 h 547678"/>
                <a:gd name="connsiteX5" fmla="*/ 288032 w 6559244"/>
                <a:gd name="connsiteY5" fmla="*/ 209831 h 547678"/>
                <a:gd name="connsiteX6" fmla="*/ 6515 w 6559244"/>
                <a:gd name="connsiteY6" fmla="*/ 72008 h 547678"/>
                <a:gd name="connsiteX7" fmla="*/ 6516 w 6559244"/>
                <a:gd name="connsiteY7" fmla="*/ 0 h 547678"/>
                <a:gd name="connsiteX0" fmla="*/ 6516 w 6559244"/>
                <a:gd name="connsiteY0" fmla="*/ 0 h 547678"/>
                <a:gd name="connsiteX1" fmla="*/ 6559244 w 6559244"/>
                <a:gd name="connsiteY1" fmla="*/ 0 h 547678"/>
                <a:gd name="connsiteX2" fmla="*/ 6559244 w 6559244"/>
                <a:gd name="connsiteY2" fmla="*/ 360546 h 547678"/>
                <a:gd name="connsiteX3" fmla="*/ 6516 w 6559244"/>
                <a:gd name="connsiteY3" fmla="*/ 360546 h 547678"/>
                <a:gd name="connsiteX4" fmla="*/ 6515 w 6559244"/>
                <a:gd name="connsiteY4" fmla="*/ 288032 h 547678"/>
                <a:gd name="connsiteX5" fmla="*/ 288032 w 6559244"/>
                <a:gd name="connsiteY5" fmla="*/ 209831 h 547678"/>
                <a:gd name="connsiteX6" fmla="*/ 6515 w 6559244"/>
                <a:gd name="connsiteY6" fmla="*/ 72008 h 547678"/>
                <a:gd name="connsiteX7" fmla="*/ 6516 w 6559244"/>
                <a:gd name="connsiteY7" fmla="*/ 0 h 547678"/>
                <a:gd name="connsiteX0" fmla="*/ 6516 w 6559244"/>
                <a:gd name="connsiteY0" fmla="*/ 0 h 398875"/>
                <a:gd name="connsiteX1" fmla="*/ 6559244 w 6559244"/>
                <a:gd name="connsiteY1" fmla="*/ 0 h 398875"/>
                <a:gd name="connsiteX2" fmla="*/ 6559244 w 6559244"/>
                <a:gd name="connsiteY2" fmla="*/ 360546 h 398875"/>
                <a:gd name="connsiteX3" fmla="*/ 6516 w 6559244"/>
                <a:gd name="connsiteY3" fmla="*/ 360546 h 398875"/>
                <a:gd name="connsiteX4" fmla="*/ 6515 w 6559244"/>
                <a:gd name="connsiteY4" fmla="*/ 288032 h 398875"/>
                <a:gd name="connsiteX5" fmla="*/ 288032 w 6559244"/>
                <a:gd name="connsiteY5" fmla="*/ 209831 h 398875"/>
                <a:gd name="connsiteX6" fmla="*/ 6515 w 6559244"/>
                <a:gd name="connsiteY6" fmla="*/ 72008 h 398875"/>
                <a:gd name="connsiteX7" fmla="*/ 6516 w 6559244"/>
                <a:gd name="connsiteY7" fmla="*/ 0 h 398875"/>
                <a:gd name="connsiteX0" fmla="*/ 6516 w 6559244"/>
                <a:gd name="connsiteY0" fmla="*/ 10800 h 371346"/>
                <a:gd name="connsiteX1" fmla="*/ 6559244 w 6559244"/>
                <a:gd name="connsiteY1" fmla="*/ 10800 h 371346"/>
                <a:gd name="connsiteX2" fmla="*/ 6559244 w 6559244"/>
                <a:gd name="connsiteY2" fmla="*/ 371346 h 371346"/>
                <a:gd name="connsiteX3" fmla="*/ 6516 w 6559244"/>
                <a:gd name="connsiteY3" fmla="*/ 371346 h 371346"/>
                <a:gd name="connsiteX4" fmla="*/ 6515 w 6559244"/>
                <a:gd name="connsiteY4" fmla="*/ 298832 h 371346"/>
                <a:gd name="connsiteX5" fmla="*/ 288032 w 6559244"/>
                <a:gd name="connsiteY5" fmla="*/ 148623 h 371346"/>
                <a:gd name="connsiteX6" fmla="*/ 6515 w 6559244"/>
                <a:gd name="connsiteY6" fmla="*/ 82808 h 371346"/>
                <a:gd name="connsiteX7" fmla="*/ 6516 w 6559244"/>
                <a:gd name="connsiteY7" fmla="*/ 10800 h 371346"/>
                <a:gd name="connsiteX0" fmla="*/ 6516 w 6559244"/>
                <a:gd name="connsiteY0" fmla="*/ 10800 h 428700"/>
                <a:gd name="connsiteX1" fmla="*/ 6559244 w 6559244"/>
                <a:gd name="connsiteY1" fmla="*/ 10800 h 428700"/>
                <a:gd name="connsiteX2" fmla="*/ 6559244 w 6559244"/>
                <a:gd name="connsiteY2" fmla="*/ 371346 h 428700"/>
                <a:gd name="connsiteX3" fmla="*/ 6516 w 6559244"/>
                <a:gd name="connsiteY3" fmla="*/ 371346 h 428700"/>
                <a:gd name="connsiteX4" fmla="*/ 6515 w 6559244"/>
                <a:gd name="connsiteY4" fmla="*/ 298832 h 428700"/>
                <a:gd name="connsiteX5" fmla="*/ 288032 w 6559244"/>
                <a:gd name="connsiteY5" fmla="*/ 148623 h 428700"/>
                <a:gd name="connsiteX6" fmla="*/ 6515 w 6559244"/>
                <a:gd name="connsiteY6" fmla="*/ 82808 h 428700"/>
                <a:gd name="connsiteX7" fmla="*/ 6516 w 6559244"/>
                <a:gd name="connsiteY7" fmla="*/ 10800 h 428700"/>
                <a:gd name="connsiteX0" fmla="*/ 6516 w 6559244"/>
                <a:gd name="connsiteY0" fmla="*/ 10800 h 495350"/>
                <a:gd name="connsiteX1" fmla="*/ 6559244 w 6559244"/>
                <a:gd name="connsiteY1" fmla="*/ 10800 h 495350"/>
                <a:gd name="connsiteX2" fmla="*/ 6559244 w 6559244"/>
                <a:gd name="connsiteY2" fmla="*/ 371346 h 495350"/>
                <a:gd name="connsiteX3" fmla="*/ 6516 w 6559244"/>
                <a:gd name="connsiteY3" fmla="*/ 371346 h 495350"/>
                <a:gd name="connsiteX4" fmla="*/ 6515 w 6559244"/>
                <a:gd name="connsiteY4" fmla="*/ 298832 h 495350"/>
                <a:gd name="connsiteX5" fmla="*/ 288032 w 6559244"/>
                <a:gd name="connsiteY5" fmla="*/ 148623 h 495350"/>
                <a:gd name="connsiteX6" fmla="*/ 6515 w 6559244"/>
                <a:gd name="connsiteY6" fmla="*/ 82808 h 495350"/>
                <a:gd name="connsiteX7" fmla="*/ 6516 w 6559244"/>
                <a:gd name="connsiteY7" fmla="*/ 10800 h 495350"/>
                <a:gd name="connsiteX0" fmla="*/ 6516 w 6559244"/>
                <a:gd name="connsiteY0" fmla="*/ 14546 h 499096"/>
                <a:gd name="connsiteX1" fmla="*/ 6559244 w 6559244"/>
                <a:gd name="connsiteY1" fmla="*/ 14546 h 499096"/>
                <a:gd name="connsiteX2" fmla="*/ 6559244 w 6559244"/>
                <a:gd name="connsiteY2" fmla="*/ 375092 h 499096"/>
                <a:gd name="connsiteX3" fmla="*/ 6516 w 6559244"/>
                <a:gd name="connsiteY3" fmla="*/ 375092 h 499096"/>
                <a:gd name="connsiteX4" fmla="*/ 6515 w 6559244"/>
                <a:gd name="connsiteY4" fmla="*/ 302578 h 499096"/>
                <a:gd name="connsiteX5" fmla="*/ 288032 w 6559244"/>
                <a:gd name="connsiteY5" fmla="*/ 152369 h 499096"/>
                <a:gd name="connsiteX6" fmla="*/ 6515 w 6559244"/>
                <a:gd name="connsiteY6" fmla="*/ 86554 h 499096"/>
                <a:gd name="connsiteX7" fmla="*/ 6516 w 6559244"/>
                <a:gd name="connsiteY7" fmla="*/ 14546 h 499096"/>
                <a:gd name="connsiteX0" fmla="*/ 6516 w 6559244"/>
                <a:gd name="connsiteY0" fmla="*/ 0 h 556558"/>
                <a:gd name="connsiteX1" fmla="*/ 6559244 w 6559244"/>
                <a:gd name="connsiteY1" fmla="*/ 0 h 556558"/>
                <a:gd name="connsiteX2" fmla="*/ 6559244 w 6559244"/>
                <a:gd name="connsiteY2" fmla="*/ 360546 h 556558"/>
                <a:gd name="connsiteX3" fmla="*/ 6516 w 6559244"/>
                <a:gd name="connsiteY3" fmla="*/ 360546 h 556558"/>
                <a:gd name="connsiteX4" fmla="*/ 6515 w 6559244"/>
                <a:gd name="connsiteY4" fmla="*/ 288032 h 556558"/>
                <a:gd name="connsiteX5" fmla="*/ 288032 w 6559244"/>
                <a:gd name="connsiteY5" fmla="*/ 209831 h 556558"/>
                <a:gd name="connsiteX6" fmla="*/ 6515 w 6559244"/>
                <a:gd name="connsiteY6" fmla="*/ 72008 h 556558"/>
                <a:gd name="connsiteX7" fmla="*/ 6516 w 6559244"/>
                <a:gd name="connsiteY7" fmla="*/ 0 h 556558"/>
                <a:gd name="connsiteX0" fmla="*/ 6516 w 6559244"/>
                <a:gd name="connsiteY0" fmla="*/ 15910 h 572468"/>
                <a:gd name="connsiteX1" fmla="*/ 6559244 w 6559244"/>
                <a:gd name="connsiteY1" fmla="*/ 15910 h 572468"/>
                <a:gd name="connsiteX2" fmla="*/ 6559244 w 6559244"/>
                <a:gd name="connsiteY2" fmla="*/ 376456 h 572468"/>
                <a:gd name="connsiteX3" fmla="*/ 6516 w 6559244"/>
                <a:gd name="connsiteY3" fmla="*/ 376456 h 572468"/>
                <a:gd name="connsiteX4" fmla="*/ 6515 w 6559244"/>
                <a:gd name="connsiteY4" fmla="*/ 303942 h 572468"/>
                <a:gd name="connsiteX5" fmla="*/ 288032 w 6559244"/>
                <a:gd name="connsiteY5" fmla="*/ 225741 h 572468"/>
                <a:gd name="connsiteX6" fmla="*/ 6515 w 6559244"/>
                <a:gd name="connsiteY6" fmla="*/ 87918 h 572468"/>
                <a:gd name="connsiteX7" fmla="*/ 6516 w 6559244"/>
                <a:gd name="connsiteY7" fmla="*/ 15910 h 572468"/>
                <a:gd name="connsiteX0" fmla="*/ 6516 w 6559244"/>
                <a:gd name="connsiteY0" fmla="*/ 15910 h 572468"/>
                <a:gd name="connsiteX1" fmla="*/ 6559244 w 6559244"/>
                <a:gd name="connsiteY1" fmla="*/ 15910 h 572468"/>
                <a:gd name="connsiteX2" fmla="*/ 6559244 w 6559244"/>
                <a:gd name="connsiteY2" fmla="*/ 376456 h 572468"/>
                <a:gd name="connsiteX3" fmla="*/ 6516 w 6559244"/>
                <a:gd name="connsiteY3" fmla="*/ 376456 h 572468"/>
                <a:gd name="connsiteX4" fmla="*/ 6515 w 6559244"/>
                <a:gd name="connsiteY4" fmla="*/ 303942 h 572468"/>
                <a:gd name="connsiteX5" fmla="*/ 288032 w 6559244"/>
                <a:gd name="connsiteY5" fmla="*/ 225741 h 572468"/>
                <a:gd name="connsiteX6" fmla="*/ 6515 w 6559244"/>
                <a:gd name="connsiteY6" fmla="*/ 87918 h 572468"/>
                <a:gd name="connsiteX7" fmla="*/ 6516 w 6559244"/>
                <a:gd name="connsiteY7" fmla="*/ 15910 h 572468"/>
                <a:gd name="connsiteX0" fmla="*/ 1 w 6552729"/>
                <a:gd name="connsiteY0" fmla="*/ 15910 h 572468"/>
                <a:gd name="connsiteX1" fmla="*/ 6552729 w 6552729"/>
                <a:gd name="connsiteY1" fmla="*/ 15910 h 572468"/>
                <a:gd name="connsiteX2" fmla="*/ 6552729 w 6552729"/>
                <a:gd name="connsiteY2" fmla="*/ 376456 h 572468"/>
                <a:gd name="connsiteX3" fmla="*/ 1 w 6552729"/>
                <a:gd name="connsiteY3" fmla="*/ 376456 h 572468"/>
                <a:gd name="connsiteX4" fmla="*/ 0 w 6552729"/>
                <a:gd name="connsiteY4" fmla="*/ 303942 h 572468"/>
                <a:gd name="connsiteX5" fmla="*/ 281517 w 6552729"/>
                <a:gd name="connsiteY5" fmla="*/ 225741 h 572468"/>
                <a:gd name="connsiteX6" fmla="*/ 0 w 6552729"/>
                <a:gd name="connsiteY6" fmla="*/ 87918 h 572468"/>
                <a:gd name="connsiteX7" fmla="*/ 1 w 6552729"/>
                <a:gd name="connsiteY7" fmla="*/ 15910 h 572468"/>
                <a:gd name="connsiteX0" fmla="*/ 1 w 6552729"/>
                <a:gd name="connsiteY0" fmla="*/ 15910 h 490340"/>
                <a:gd name="connsiteX1" fmla="*/ 6552729 w 6552729"/>
                <a:gd name="connsiteY1" fmla="*/ 15910 h 490340"/>
                <a:gd name="connsiteX2" fmla="*/ 6552729 w 6552729"/>
                <a:gd name="connsiteY2" fmla="*/ 376456 h 490340"/>
                <a:gd name="connsiteX3" fmla="*/ 1 w 6552729"/>
                <a:gd name="connsiteY3" fmla="*/ 376456 h 490340"/>
                <a:gd name="connsiteX4" fmla="*/ 0 w 6552729"/>
                <a:gd name="connsiteY4" fmla="*/ 303942 h 490340"/>
                <a:gd name="connsiteX5" fmla="*/ 281517 w 6552729"/>
                <a:gd name="connsiteY5" fmla="*/ 225741 h 490340"/>
                <a:gd name="connsiteX6" fmla="*/ 0 w 6552729"/>
                <a:gd name="connsiteY6" fmla="*/ 87918 h 490340"/>
                <a:gd name="connsiteX7" fmla="*/ 1 w 6552729"/>
                <a:gd name="connsiteY7" fmla="*/ 15910 h 490340"/>
                <a:gd name="connsiteX0" fmla="*/ 1 w 6552729"/>
                <a:gd name="connsiteY0" fmla="*/ 15910 h 490340"/>
                <a:gd name="connsiteX1" fmla="*/ 6552729 w 6552729"/>
                <a:gd name="connsiteY1" fmla="*/ 15910 h 490340"/>
                <a:gd name="connsiteX2" fmla="*/ 6552729 w 6552729"/>
                <a:gd name="connsiteY2" fmla="*/ 376456 h 490340"/>
                <a:gd name="connsiteX3" fmla="*/ 1 w 6552729"/>
                <a:gd name="connsiteY3" fmla="*/ 376456 h 490340"/>
                <a:gd name="connsiteX4" fmla="*/ 0 w 6552729"/>
                <a:gd name="connsiteY4" fmla="*/ 303942 h 490340"/>
                <a:gd name="connsiteX5" fmla="*/ 281517 w 6552729"/>
                <a:gd name="connsiteY5" fmla="*/ 225741 h 490340"/>
                <a:gd name="connsiteX6" fmla="*/ 0 w 6552729"/>
                <a:gd name="connsiteY6" fmla="*/ 87918 h 490340"/>
                <a:gd name="connsiteX7" fmla="*/ 1 w 6552729"/>
                <a:gd name="connsiteY7" fmla="*/ 15910 h 490340"/>
                <a:gd name="connsiteX0" fmla="*/ 1 w 6552729"/>
                <a:gd name="connsiteY0" fmla="*/ 15910 h 490340"/>
                <a:gd name="connsiteX1" fmla="*/ 6552729 w 6552729"/>
                <a:gd name="connsiteY1" fmla="*/ 15910 h 490340"/>
                <a:gd name="connsiteX2" fmla="*/ 6552729 w 6552729"/>
                <a:gd name="connsiteY2" fmla="*/ 376456 h 490340"/>
                <a:gd name="connsiteX3" fmla="*/ 1 w 6552729"/>
                <a:gd name="connsiteY3" fmla="*/ 376456 h 490340"/>
                <a:gd name="connsiteX4" fmla="*/ 0 w 6552729"/>
                <a:gd name="connsiteY4" fmla="*/ 303942 h 490340"/>
                <a:gd name="connsiteX5" fmla="*/ 281517 w 6552729"/>
                <a:gd name="connsiteY5" fmla="*/ 225741 h 490340"/>
                <a:gd name="connsiteX6" fmla="*/ 0 w 6552729"/>
                <a:gd name="connsiteY6" fmla="*/ 87918 h 490340"/>
                <a:gd name="connsiteX7" fmla="*/ 1 w 6552729"/>
                <a:gd name="connsiteY7" fmla="*/ 15910 h 490340"/>
                <a:gd name="connsiteX0" fmla="*/ 1 w 6552729"/>
                <a:gd name="connsiteY0" fmla="*/ 15910 h 490340"/>
                <a:gd name="connsiteX1" fmla="*/ 6552729 w 6552729"/>
                <a:gd name="connsiteY1" fmla="*/ 15910 h 490340"/>
                <a:gd name="connsiteX2" fmla="*/ 6552729 w 6552729"/>
                <a:gd name="connsiteY2" fmla="*/ 376456 h 490340"/>
                <a:gd name="connsiteX3" fmla="*/ 1 w 6552729"/>
                <a:gd name="connsiteY3" fmla="*/ 376456 h 490340"/>
                <a:gd name="connsiteX4" fmla="*/ 0 w 6552729"/>
                <a:gd name="connsiteY4" fmla="*/ 303942 h 490340"/>
                <a:gd name="connsiteX5" fmla="*/ 281517 w 6552729"/>
                <a:gd name="connsiteY5" fmla="*/ 225741 h 490340"/>
                <a:gd name="connsiteX6" fmla="*/ 0 w 6552729"/>
                <a:gd name="connsiteY6" fmla="*/ 87918 h 490340"/>
                <a:gd name="connsiteX7" fmla="*/ 1 w 6552729"/>
                <a:gd name="connsiteY7" fmla="*/ 15910 h 490340"/>
                <a:gd name="connsiteX0" fmla="*/ 1 w 6552729"/>
                <a:gd name="connsiteY0" fmla="*/ 74424 h 548854"/>
                <a:gd name="connsiteX1" fmla="*/ 6552729 w 6552729"/>
                <a:gd name="connsiteY1" fmla="*/ 74424 h 548854"/>
                <a:gd name="connsiteX2" fmla="*/ 6552729 w 6552729"/>
                <a:gd name="connsiteY2" fmla="*/ 434970 h 548854"/>
                <a:gd name="connsiteX3" fmla="*/ 1 w 6552729"/>
                <a:gd name="connsiteY3" fmla="*/ 434970 h 548854"/>
                <a:gd name="connsiteX4" fmla="*/ 0 w 6552729"/>
                <a:gd name="connsiteY4" fmla="*/ 362456 h 548854"/>
                <a:gd name="connsiteX5" fmla="*/ 281517 w 6552729"/>
                <a:gd name="connsiteY5" fmla="*/ 284255 h 548854"/>
                <a:gd name="connsiteX6" fmla="*/ 0 w 6552729"/>
                <a:gd name="connsiteY6" fmla="*/ 146432 h 548854"/>
                <a:gd name="connsiteX7" fmla="*/ 1 w 6552729"/>
                <a:gd name="connsiteY7" fmla="*/ 74424 h 548854"/>
                <a:gd name="connsiteX0" fmla="*/ 1 w 6552729"/>
                <a:gd name="connsiteY0" fmla="*/ 113318 h 587748"/>
                <a:gd name="connsiteX1" fmla="*/ 6552729 w 6552729"/>
                <a:gd name="connsiteY1" fmla="*/ 113318 h 587748"/>
                <a:gd name="connsiteX2" fmla="*/ 6552729 w 6552729"/>
                <a:gd name="connsiteY2" fmla="*/ 473864 h 587748"/>
                <a:gd name="connsiteX3" fmla="*/ 1 w 6552729"/>
                <a:gd name="connsiteY3" fmla="*/ 473864 h 587748"/>
                <a:gd name="connsiteX4" fmla="*/ 0 w 6552729"/>
                <a:gd name="connsiteY4" fmla="*/ 401350 h 587748"/>
                <a:gd name="connsiteX5" fmla="*/ 281517 w 6552729"/>
                <a:gd name="connsiteY5" fmla="*/ 323149 h 587748"/>
                <a:gd name="connsiteX6" fmla="*/ 0 w 6552729"/>
                <a:gd name="connsiteY6" fmla="*/ 185326 h 587748"/>
                <a:gd name="connsiteX7" fmla="*/ 1 w 6552729"/>
                <a:gd name="connsiteY7" fmla="*/ 113318 h 587748"/>
                <a:gd name="connsiteX0" fmla="*/ 1 w 6552729"/>
                <a:gd name="connsiteY0" fmla="*/ 113318 h 587748"/>
                <a:gd name="connsiteX1" fmla="*/ 6552729 w 6552729"/>
                <a:gd name="connsiteY1" fmla="*/ 113318 h 587748"/>
                <a:gd name="connsiteX2" fmla="*/ 6552729 w 6552729"/>
                <a:gd name="connsiteY2" fmla="*/ 473864 h 587748"/>
                <a:gd name="connsiteX3" fmla="*/ 1 w 6552729"/>
                <a:gd name="connsiteY3" fmla="*/ 473864 h 587748"/>
                <a:gd name="connsiteX4" fmla="*/ 0 w 6552729"/>
                <a:gd name="connsiteY4" fmla="*/ 401350 h 587748"/>
                <a:gd name="connsiteX5" fmla="*/ 281517 w 6552729"/>
                <a:gd name="connsiteY5" fmla="*/ 323149 h 587748"/>
                <a:gd name="connsiteX6" fmla="*/ 0 w 6552729"/>
                <a:gd name="connsiteY6" fmla="*/ 185326 h 587748"/>
                <a:gd name="connsiteX7" fmla="*/ 1 w 6552729"/>
                <a:gd name="connsiteY7" fmla="*/ 113318 h 587748"/>
                <a:gd name="connsiteX0" fmla="*/ 1 w 6552729"/>
                <a:gd name="connsiteY0" fmla="*/ 134973 h 609403"/>
                <a:gd name="connsiteX1" fmla="*/ 6552729 w 6552729"/>
                <a:gd name="connsiteY1" fmla="*/ 134973 h 609403"/>
                <a:gd name="connsiteX2" fmla="*/ 6552729 w 6552729"/>
                <a:gd name="connsiteY2" fmla="*/ 495519 h 609403"/>
                <a:gd name="connsiteX3" fmla="*/ 1 w 6552729"/>
                <a:gd name="connsiteY3" fmla="*/ 495519 h 609403"/>
                <a:gd name="connsiteX4" fmla="*/ 0 w 6552729"/>
                <a:gd name="connsiteY4" fmla="*/ 423005 h 609403"/>
                <a:gd name="connsiteX5" fmla="*/ 281517 w 6552729"/>
                <a:gd name="connsiteY5" fmla="*/ 344804 h 609403"/>
                <a:gd name="connsiteX6" fmla="*/ 0 w 6552729"/>
                <a:gd name="connsiteY6" fmla="*/ 206981 h 609403"/>
                <a:gd name="connsiteX7" fmla="*/ 1 w 6552729"/>
                <a:gd name="connsiteY7" fmla="*/ 134973 h 609403"/>
                <a:gd name="connsiteX0" fmla="*/ 1 w 6552729"/>
                <a:gd name="connsiteY0" fmla="*/ 134973 h 618333"/>
                <a:gd name="connsiteX1" fmla="*/ 6552729 w 6552729"/>
                <a:gd name="connsiteY1" fmla="*/ 134973 h 618333"/>
                <a:gd name="connsiteX2" fmla="*/ 6552729 w 6552729"/>
                <a:gd name="connsiteY2" fmla="*/ 495519 h 618333"/>
                <a:gd name="connsiteX3" fmla="*/ 1 w 6552729"/>
                <a:gd name="connsiteY3" fmla="*/ 495519 h 618333"/>
                <a:gd name="connsiteX4" fmla="*/ 0 w 6552729"/>
                <a:gd name="connsiteY4" fmla="*/ 423005 h 618333"/>
                <a:gd name="connsiteX5" fmla="*/ 281517 w 6552729"/>
                <a:gd name="connsiteY5" fmla="*/ 344804 h 618333"/>
                <a:gd name="connsiteX6" fmla="*/ 0 w 6552729"/>
                <a:gd name="connsiteY6" fmla="*/ 206981 h 618333"/>
                <a:gd name="connsiteX7" fmla="*/ 1 w 6552729"/>
                <a:gd name="connsiteY7" fmla="*/ 134973 h 618333"/>
                <a:gd name="connsiteX0" fmla="*/ 1 w 6552729"/>
                <a:gd name="connsiteY0" fmla="*/ 134973 h 629644"/>
                <a:gd name="connsiteX1" fmla="*/ 6552729 w 6552729"/>
                <a:gd name="connsiteY1" fmla="*/ 134973 h 629644"/>
                <a:gd name="connsiteX2" fmla="*/ 6552729 w 6552729"/>
                <a:gd name="connsiteY2" fmla="*/ 495519 h 629644"/>
                <a:gd name="connsiteX3" fmla="*/ 1 w 6552729"/>
                <a:gd name="connsiteY3" fmla="*/ 495519 h 629644"/>
                <a:gd name="connsiteX4" fmla="*/ 0 w 6552729"/>
                <a:gd name="connsiteY4" fmla="*/ 423005 h 629644"/>
                <a:gd name="connsiteX5" fmla="*/ 281517 w 6552729"/>
                <a:gd name="connsiteY5" fmla="*/ 344804 h 629644"/>
                <a:gd name="connsiteX6" fmla="*/ 0 w 6552729"/>
                <a:gd name="connsiteY6" fmla="*/ 206981 h 629644"/>
                <a:gd name="connsiteX7" fmla="*/ 1 w 6552729"/>
                <a:gd name="connsiteY7" fmla="*/ 134973 h 629644"/>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353525 w 6552729"/>
                <a:gd name="connsiteY5" fmla="*/ 344804 h 633811"/>
                <a:gd name="connsiteX6" fmla="*/ 0 w 6552729"/>
                <a:gd name="connsiteY6" fmla="*/ 206981 h 633811"/>
                <a:gd name="connsiteX7" fmla="*/ 1 w 6552729"/>
                <a:gd name="connsiteY7" fmla="*/ 134973 h 633811"/>
                <a:gd name="connsiteX0" fmla="*/ 1 w 6552729"/>
                <a:gd name="connsiteY0" fmla="*/ 109003 h 607841"/>
                <a:gd name="connsiteX1" fmla="*/ 6552729 w 6552729"/>
                <a:gd name="connsiteY1" fmla="*/ 109003 h 607841"/>
                <a:gd name="connsiteX2" fmla="*/ 6552729 w 6552729"/>
                <a:gd name="connsiteY2" fmla="*/ 469549 h 607841"/>
                <a:gd name="connsiteX3" fmla="*/ 1 w 6552729"/>
                <a:gd name="connsiteY3" fmla="*/ 469549 h 607841"/>
                <a:gd name="connsiteX4" fmla="*/ 0 w 6552729"/>
                <a:gd name="connsiteY4" fmla="*/ 397035 h 607841"/>
                <a:gd name="connsiteX5" fmla="*/ 353525 w 6552729"/>
                <a:gd name="connsiteY5" fmla="*/ 318834 h 607841"/>
                <a:gd name="connsiteX6" fmla="*/ 0 w 6552729"/>
                <a:gd name="connsiteY6" fmla="*/ 181011 h 607841"/>
                <a:gd name="connsiteX7" fmla="*/ 1 w 6552729"/>
                <a:gd name="connsiteY7" fmla="*/ 109003 h 607841"/>
                <a:gd name="connsiteX0" fmla="*/ 1 w 6552729"/>
                <a:gd name="connsiteY0" fmla="*/ 109003 h 578671"/>
                <a:gd name="connsiteX1" fmla="*/ 6552729 w 6552729"/>
                <a:gd name="connsiteY1" fmla="*/ 109003 h 578671"/>
                <a:gd name="connsiteX2" fmla="*/ 6552729 w 6552729"/>
                <a:gd name="connsiteY2" fmla="*/ 469549 h 578671"/>
                <a:gd name="connsiteX3" fmla="*/ 1 w 6552729"/>
                <a:gd name="connsiteY3" fmla="*/ 469549 h 578671"/>
                <a:gd name="connsiteX4" fmla="*/ 0 w 6552729"/>
                <a:gd name="connsiteY4" fmla="*/ 397035 h 578671"/>
                <a:gd name="connsiteX5" fmla="*/ 353525 w 6552729"/>
                <a:gd name="connsiteY5" fmla="*/ 318834 h 578671"/>
                <a:gd name="connsiteX6" fmla="*/ 0 w 6552729"/>
                <a:gd name="connsiteY6" fmla="*/ 181011 h 578671"/>
                <a:gd name="connsiteX7" fmla="*/ 1 w 6552729"/>
                <a:gd name="connsiteY7" fmla="*/ 109003 h 578671"/>
                <a:gd name="connsiteX0" fmla="*/ 1 w 6552729"/>
                <a:gd name="connsiteY0" fmla="*/ 109003 h 566169"/>
                <a:gd name="connsiteX1" fmla="*/ 6552729 w 6552729"/>
                <a:gd name="connsiteY1" fmla="*/ 109003 h 566169"/>
                <a:gd name="connsiteX2" fmla="*/ 6552729 w 6552729"/>
                <a:gd name="connsiteY2" fmla="*/ 469549 h 566169"/>
                <a:gd name="connsiteX3" fmla="*/ 1 w 6552729"/>
                <a:gd name="connsiteY3" fmla="*/ 469549 h 566169"/>
                <a:gd name="connsiteX4" fmla="*/ 0 w 6552729"/>
                <a:gd name="connsiteY4" fmla="*/ 397035 h 566169"/>
                <a:gd name="connsiteX5" fmla="*/ 353525 w 6552729"/>
                <a:gd name="connsiteY5" fmla="*/ 318834 h 566169"/>
                <a:gd name="connsiteX6" fmla="*/ 0 w 6552729"/>
                <a:gd name="connsiteY6" fmla="*/ 181011 h 566169"/>
                <a:gd name="connsiteX7" fmla="*/ 1 w 6552729"/>
                <a:gd name="connsiteY7" fmla="*/ 109003 h 566169"/>
                <a:gd name="connsiteX0" fmla="*/ 1 w 6552729"/>
                <a:gd name="connsiteY0" fmla="*/ 99701 h 556867"/>
                <a:gd name="connsiteX1" fmla="*/ 6552729 w 6552729"/>
                <a:gd name="connsiteY1" fmla="*/ 99701 h 556867"/>
                <a:gd name="connsiteX2" fmla="*/ 6552729 w 6552729"/>
                <a:gd name="connsiteY2" fmla="*/ 460247 h 556867"/>
                <a:gd name="connsiteX3" fmla="*/ 1 w 6552729"/>
                <a:gd name="connsiteY3" fmla="*/ 460247 h 556867"/>
                <a:gd name="connsiteX4" fmla="*/ 0 w 6552729"/>
                <a:gd name="connsiteY4" fmla="*/ 387733 h 556867"/>
                <a:gd name="connsiteX5" fmla="*/ 353525 w 6552729"/>
                <a:gd name="connsiteY5" fmla="*/ 309532 h 556867"/>
                <a:gd name="connsiteX6" fmla="*/ 0 w 6552729"/>
                <a:gd name="connsiteY6" fmla="*/ 171709 h 556867"/>
                <a:gd name="connsiteX7" fmla="*/ 1 w 6552729"/>
                <a:gd name="connsiteY7" fmla="*/ 99701 h 556867"/>
                <a:gd name="connsiteX0" fmla="*/ 1 w 6552729"/>
                <a:gd name="connsiteY0" fmla="*/ 119545 h 576711"/>
                <a:gd name="connsiteX1" fmla="*/ 6552729 w 6552729"/>
                <a:gd name="connsiteY1" fmla="*/ 119545 h 576711"/>
                <a:gd name="connsiteX2" fmla="*/ 6552729 w 6552729"/>
                <a:gd name="connsiteY2" fmla="*/ 480091 h 576711"/>
                <a:gd name="connsiteX3" fmla="*/ 1 w 6552729"/>
                <a:gd name="connsiteY3" fmla="*/ 480091 h 576711"/>
                <a:gd name="connsiteX4" fmla="*/ 0 w 6552729"/>
                <a:gd name="connsiteY4" fmla="*/ 407577 h 576711"/>
                <a:gd name="connsiteX5" fmla="*/ 353525 w 6552729"/>
                <a:gd name="connsiteY5" fmla="*/ 329376 h 576711"/>
                <a:gd name="connsiteX6" fmla="*/ 0 w 6552729"/>
                <a:gd name="connsiteY6" fmla="*/ 191553 h 576711"/>
                <a:gd name="connsiteX7" fmla="*/ 1 w 6552729"/>
                <a:gd name="connsiteY7" fmla="*/ 119545 h 576711"/>
                <a:gd name="connsiteX0" fmla="*/ 1 w 6552729"/>
                <a:gd name="connsiteY0" fmla="*/ 119545 h 617167"/>
                <a:gd name="connsiteX1" fmla="*/ 6552729 w 6552729"/>
                <a:gd name="connsiteY1" fmla="*/ 119545 h 617167"/>
                <a:gd name="connsiteX2" fmla="*/ 6552729 w 6552729"/>
                <a:gd name="connsiteY2" fmla="*/ 480091 h 617167"/>
                <a:gd name="connsiteX3" fmla="*/ 1 w 6552729"/>
                <a:gd name="connsiteY3" fmla="*/ 480091 h 617167"/>
                <a:gd name="connsiteX4" fmla="*/ 0 w 6552729"/>
                <a:gd name="connsiteY4" fmla="*/ 407577 h 617167"/>
                <a:gd name="connsiteX5" fmla="*/ 353525 w 6552729"/>
                <a:gd name="connsiteY5" fmla="*/ 329376 h 617167"/>
                <a:gd name="connsiteX6" fmla="*/ 0 w 6552729"/>
                <a:gd name="connsiteY6" fmla="*/ 191553 h 617167"/>
                <a:gd name="connsiteX7" fmla="*/ 1 w 6552729"/>
                <a:gd name="connsiteY7" fmla="*/ 119545 h 617167"/>
                <a:gd name="connsiteX0" fmla="*/ 1 w 6554071"/>
                <a:gd name="connsiteY0" fmla="*/ 119545 h 617167"/>
                <a:gd name="connsiteX1" fmla="*/ 6552729 w 6554071"/>
                <a:gd name="connsiteY1" fmla="*/ 119545 h 617167"/>
                <a:gd name="connsiteX2" fmla="*/ 6554071 w 6554071"/>
                <a:gd name="connsiteY2" fmla="*/ 318363 h 617167"/>
                <a:gd name="connsiteX3" fmla="*/ 6552729 w 6554071"/>
                <a:gd name="connsiteY3" fmla="*/ 480091 h 617167"/>
                <a:gd name="connsiteX4" fmla="*/ 1 w 6554071"/>
                <a:gd name="connsiteY4" fmla="*/ 480091 h 617167"/>
                <a:gd name="connsiteX5" fmla="*/ 0 w 6554071"/>
                <a:gd name="connsiteY5" fmla="*/ 407577 h 617167"/>
                <a:gd name="connsiteX6" fmla="*/ 353525 w 6554071"/>
                <a:gd name="connsiteY6" fmla="*/ 329376 h 617167"/>
                <a:gd name="connsiteX7" fmla="*/ 0 w 6554071"/>
                <a:gd name="connsiteY7" fmla="*/ 191553 h 617167"/>
                <a:gd name="connsiteX8" fmla="*/ 1 w 6554071"/>
                <a:gd name="connsiteY8" fmla="*/ 119545 h 617167"/>
                <a:gd name="connsiteX0" fmla="*/ 1 w 7645074"/>
                <a:gd name="connsiteY0" fmla="*/ 119545 h 617167"/>
                <a:gd name="connsiteX1" fmla="*/ 6552729 w 7645074"/>
                <a:gd name="connsiteY1" fmla="*/ 119545 h 617167"/>
                <a:gd name="connsiteX2" fmla="*/ 6554071 w 7645074"/>
                <a:gd name="connsiteY2" fmla="*/ 187394 h 617167"/>
                <a:gd name="connsiteX3" fmla="*/ 6554071 w 7645074"/>
                <a:gd name="connsiteY3" fmla="*/ 318363 h 617167"/>
                <a:gd name="connsiteX4" fmla="*/ 6552729 w 7645074"/>
                <a:gd name="connsiteY4" fmla="*/ 480091 h 617167"/>
                <a:gd name="connsiteX5" fmla="*/ 1 w 7645074"/>
                <a:gd name="connsiteY5" fmla="*/ 480091 h 617167"/>
                <a:gd name="connsiteX6" fmla="*/ 0 w 7645074"/>
                <a:gd name="connsiteY6" fmla="*/ 407577 h 617167"/>
                <a:gd name="connsiteX7" fmla="*/ 353525 w 7645074"/>
                <a:gd name="connsiteY7" fmla="*/ 329376 h 617167"/>
                <a:gd name="connsiteX8" fmla="*/ 0 w 7645074"/>
                <a:gd name="connsiteY8" fmla="*/ 191553 h 617167"/>
                <a:gd name="connsiteX9" fmla="*/ 1 w 7645074"/>
                <a:gd name="connsiteY9" fmla="*/ 119545 h 617167"/>
                <a:gd name="connsiteX0" fmla="*/ 1 w 6554295"/>
                <a:gd name="connsiteY0" fmla="*/ 119545 h 617167"/>
                <a:gd name="connsiteX1" fmla="*/ 6552729 w 6554295"/>
                <a:gd name="connsiteY1" fmla="*/ 119545 h 617167"/>
                <a:gd name="connsiteX2" fmla="*/ 6554071 w 6554295"/>
                <a:gd name="connsiteY2" fmla="*/ 187394 h 617167"/>
                <a:gd name="connsiteX3" fmla="*/ 6554071 w 6554295"/>
                <a:gd name="connsiteY3" fmla="*/ 318363 h 617167"/>
                <a:gd name="connsiteX4" fmla="*/ 6552729 w 6554295"/>
                <a:gd name="connsiteY4" fmla="*/ 480091 h 617167"/>
                <a:gd name="connsiteX5" fmla="*/ 1 w 6554295"/>
                <a:gd name="connsiteY5" fmla="*/ 480091 h 617167"/>
                <a:gd name="connsiteX6" fmla="*/ 0 w 6554295"/>
                <a:gd name="connsiteY6" fmla="*/ 407577 h 617167"/>
                <a:gd name="connsiteX7" fmla="*/ 353525 w 6554295"/>
                <a:gd name="connsiteY7" fmla="*/ 329376 h 617167"/>
                <a:gd name="connsiteX8" fmla="*/ 0 w 6554295"/>
                <a:gd name="connsiteY8" fmla="*/ 191553 h 617167"/>
                <a:gd name="connsiteX9" fmla="*/ 1 w 6554295"/>
                <a:gd name="connsiteY9" fmla="*/ 119545 h 617167"/>
                <a:gd name="connsiteX0" fmla="*/ 1 w 7644654"/>
                <a:gd name="connsiteY0" fmla="*/ 119545 h 617167"/>
                <a:gd name="connsiteX1" fmla="*/ 6552729 w 7644654"/>
                <a:gd name="connsiteY1" fmla="*/ 119545 h 617167"/>
                <a:gd name="connsiteX2" fmla="*/ 6554071 w 7644654"/>
                <a:gd name="connsiteY2" fmla="*/ 187394 h 617167"/>
                <a:gd name="connsiteX3" fmla="*/ 6554071 w 7644654"/>
                <a:gd name="connsiteY3" fmla="*/ 318363 h 617167"/>
                <a:gd name="connsiteX4" fmla="*/ 6551550 w 7644654"/>
                <a:gd name="connsiteY4" fmla="*/ 413613 h 617167"/>
                <a:gd name="connsiteX5" fmla="*/ 6552729 w 7644654"/>
                <a:gd name="connsiteY5" fmla="*/ 480091 h 617167"/>
                <a:gd name="connsiteX6" fmla="*/ 1 w 7644654"/>
                <a:gd name="connsiteY6" fmla="*/ 480091 h 617167"/>
                <a:gd name="connsiteX7" fmla="*/ 0 w 7644654"/>
                <a:gd name="connsiteY7" fmla="*/ 407577 h 617167"/>
                <a:gd name="connsiteX8" fmla="*/ 353525 w 7644654"/>
                <a:gd name="connsiteY8" fmla="*/ 329376 h 617167"/>
                <a:gd name="connsiteX9" fmla="*/ 0 w 7644654"/>
                <a:gd name="connsiteY9" fmla="*/ 191553 h 617167"/>
                <a:gd name="connsiteX10" fmla="*/ 1 w 7644654"/>
                <a:gd name="connsiteY10" fmla="*/ 119545 h 617167"/>
                <a:gd name="connsiteX0" fmla="*/ 1 w 6554295"/>
                <a:gd name="connsiteY0" fmla="*/ 119545 h 617167"/>
                <a:gd name="connsiteX1" fmla="*/ 6552729 w 6554295"/>
                <a:gd name="connsiteY1" fmla="*/ 119545 h 617167"/>
                <a:gd name="connsiteX2" fmla="*/ 6554071 w 6554295"/>
                <a:gd name="connsiteY2" fmla="*/ 187394 h 617167"/>
                <a:gd name="connsiteX3" fmla="*/ 6554071 w 6554295"/>
                <a:gd name="connsiteY3" fmla="*/ 318363 h 617167"/>
                <a:gd name="connsiteX4" fmla="*/ 6551550 w 6554295"/>
                <a:gd name="connsiteY4" fmla="*/ 413613 h 617167"/>
                <a:gd name="connsiteX5" fmla="*/ 6552729 w 6554295"/>
                <a:gd name="connsiteY5" fmla="*/ 480091 h 617167"/>
                <a:gd name="connsiteX6" fmla="*/ 1 w 6554295"/>
                <a:gd name="connsiteY6" fmla="*/ 480091 h 617167"/>
                <a:gd name="connsiteX7" fmla="*/ 0 w 6554295"/>
                <a:gd name="connsiteY7" fmla="*/ 407577 h 617167"/>
                <a:gd name="connsiteX8" fmla="*/ 353525 w 6554295"/>
                <a:gd name="connsiteY8" fmla="*/ 329376 h 617167"/>
                <a:gd name="connsiteX9" fmla="*/ 0 w 6554295"/>
                <a:gd name="connsiteY9" fmla="*/ 191553 h 617167"/>
                <a:gd name="connsiteX10" fmla="*/ 1 w 6554295"/>
                <a:gd name="connsiteY10" fmla="*/ 119545 h 617167"/>
                <a:gd name="connsiteX0" fmla="*/ 1 w 6554295"/>
                <a:gd name="connsiteY0" fmla="*/ 119545 h 617167"/>
                <a:gd name="connsiteX1" fmla="*/ 6552729 w 6554295"/>
                <a:gd name="connsiteY1" fmla="*/ 119545 h 617167"/>
                <a:gd name="connsiteX2" fmla="*/ 6554071 w 6554295"/>
                <a:gd name="connsiteY2" fmla="*/ 187394 h 617167"/>
                <a:gd name="connsiteX3" fmla="*/ 6546562 w 6554295"/>
                <a:gd name="connsiteY3" fmla="*/ 354776 h 617167"/>
                <a:gd name="connsiteX4" fmla="*/ 6551550 w 6554295"/>
                <a:gd name="connsiteY4" fmla="*/ 413613 h 617167"/>
                <a:gd name="connsiteX5" fmla="*/ 6552729 w 6554295"/>
                <a:gd name="connsiteY5" fmla="*/ 480091 h 617167"/>
                <a:gd name="connsiteX6" fmla="*/ 1 w 6554295"/>
                <a:gd name="connsiteY6" fmla="*/ 480091 h 617167"/>
                <a:gd name="connsiteX7" fmla="*/ 0 w 6554295"/>
                <a:gd name="connsiteY7" fmla="*/ 407577 h 617167"/>
                <a:gd name="connsiteX8" fmla="*/ 353525 w 6554295"/>
                <a:gd name="connsiteY8" fmla="*/ 329376 h 617167"/>
                <a:gd name="connsiteX9" fmla="*/ 0 w 6554295"/>
                <a:gd name="connsiteY9" fmla="*/ 191553 h 617167"/>
                <a:gd name="connsiteX10" fmla="*/ 1 w 6554295"/>
                <a:gd name="connsiteY10" fmla="*/ 119545 h 617167"/>
                <a:gd name="connsiteX0" fmla="*/ 1 w 6554071"/>
                <a:gd name="connsiteY0" fmla="*/ 119545 h 617167"/>
                <a:gd name="connsiteX1" fmla="*/ 6552729 w 6554071"/>
                <a:gd name="connsiteY1" fmla="*/ 119545 h 617167"/>
                <a:gd name="connsiteX2" fmla="*/ 6554071 w 6554071"/>
                <a:gd name="connsiteY2" fmla="*/ 187394 h 617167"/>
                <a:gd name="connsiteX3" fmla="*/ 6551550 w 6554071"/>
                <a:gd name="connsiteY3" fmla="*/ 413613 h 617167"/>
                <a:gd name="connsiteX4" fmla="*/ 6552729 w 6554071"/>
                <a:gd name="connsiteY4" fmla="*/ 480091 h 617167"/>
                <a:gd name="connsiteX5" fmla="*/ 1 w 6554071"/>
                <a:gd name="connsiteY5" fmla="*/ 480091 h 617167"/>
                <a:gd name="connsiteX6" fmla="*/ 0 w 6554071"/>
                <a:gd name="connsiteY6" fmla="*/ 407577 h 617167"/>
                <a:gd name="connsiteX7" fmla="*/ 353525 w 6554071"/>
                <a:gd name="connsiteY7" fmla="*/ 329376 h 617167"/>
                <a:gd name="connsiteX8" fmla="*/ 0 w 6554071"/>
                <a:gd name="connsiteY8" fmla="*/ 191553 h 617167"/>
                <a:gd name="connsiteX9" fmla="*/ 1 w 6554071"/>
                <a:gd name="connsiteY9" fmla="*/ 119545 h 617167"/>
                <a:gd name="connsiteX0" fmla="*/ 1 w 6554071"/>
                <a:gd name="connsiteY0" fmla="*/ 119545 h 617167"/>
                <a:gd name="connsiteX1" fmla="*/ 6552729 w 6554071"/>
                <a:gd name="connsiteY1" fmla="*/ 119545 h 617167"/>
                <a:gd name="connsiteX2" fmla="*/ 6554071 w 6554071"/>
                <a:gd name="connsiteY2" fmla="*/ 187394 h 617167"/>
                <a:gd name="connsiteX3" fmla="*/ 6551550 w 6554071"/>
                <a:gd name="connsiteY3" fmla="*/ 287406 h 617167"/>
                <a:gd name="connsiteX4" fmla="*/ 6551550 w 6554071"/>
                <a:gd name="connsiteY4" fmla="*/ 413613 h 617167"/>
                <a:gd name="connsiteX5" fmla="*/ 6552729 w 6554071"/>
                <a:gd name="connsiteY5" fmla="*/ 480091 h 617167"/>
                <a:gd name="connsiteX6" fmla="*/ 1 w 6554071"/>
                <a:gd name="connsiteY6" fmla="*/ 480091 h 617167"/>
                <a:gd name="connsiteX7" fmla="*/ 0 w 6554071"/>
                <a:gd name="connsiteY7" fmla="*/ 407577 h 617167"/>
                <a:gd name="connsiteX8" fmla="*/ 353525 w 6554071"/>
                <a:gd name="connsiteY8" fmla="*/ 329376 h 617167"/>
                <a:gd name="connsiteX9" fmla="*/ 0 w 6554071"/>
                <a:gd name="connsiteY9" fmla="*/ 191553 h 617167"/>
                <a:gd name="connsiteX10" fmla="*/ 1 w 6554071"/>
                <a:gd name="connsiteY10" fmla="*/ 119545 h 617167"/>
                <a:gd name="connsiteX0" fmla="*/ 1 w 6927998"/>
                <a:gd name="connsiteY0" fmla="*/ 119545 h 617167"/>
                <a:gd name="connsiteX1" fmla="*/ 6552729 w 6927998"/>
                <a:gd name="connsiteY1" fmla="*/ 119545 h 617167"/>
                <a:gd name="connsiteX2" fmla="*/ 6554071 w 6927998"/>
                <a:gd name="connsiteY2" fmla="*/ 187394 h 617167"/>
                <a:gd name="connsiteX3" fmla="*/ 6927578 w 6927998"/>
                <a:gd name="connsiteY3" fmla="*/ 282768 h 617167"/>
                <a:gd name="connsiteX4" fmla="*/ 6551550 w 6927998"/>
                <a:gd name="connsiteY4" fmla="*/ 413613 h 617167"/>
                <a:gd name="connsiteX5" fmla="*/ 6552729 w 6927998"/>
                <a:gd name="connsiteY5" fmla="*/ 480091 h 617167"/>
                <a:gd name="connsiteX6" fmla="*/ 1 w 6927998"/>
                <a:gd name="connsiteY6" fmla="*/ 480091 h 617167"/>
                <a:gd name="connsiteX7" fmla="*/ 0 w 6927998"/>
                <a:gd name="connsiteY7" fmla="*/ 407577 h 617167"/>
                <a:gd name="connsiteX8" fmla="*/ 353525 w 6927998"/>
                <a:gd name="connsiteY8" fmla="*/ 329376 h 617167"/>
                <a:gd name="connsiteX9" fmla="*/ 0 w 6927998"/>
                <a:gd name="connsiteY9" fmla="*/ 191553 h 617167"/>
                <a:gd name="connsiteX10" fmla="*/ 1 w 6927998"/>
                <a:gd name="connsiteY10" fmla="*/ 119545 h 617167"/>
                <a:gd name="connsiteX0" fmla="*/ 1 w 6929967"/>
                <a:gd name="connsiteY0" fmla="*/ 119545 h 617167"/>
                <a:gd name="connsiteX1" fmla="*/ 6552729 w 6929967"/>
                <a:gd name="connsiteY1" fmla="*/ 119545 h 617167"/>
                <a:gd name="connsiteX2" fmla="*/ 6554071 w 6929967"/>
                <a:gd name="connsiteY2" fmla="*/ 187394 h 617167"/>
                <a:gd name="connsiteX3" fmla="*/ 6927578 w 6929967"/>
                <a:gd name="connsiteY3" fmla="*/ 282768 h 617167"/>
                <a:gd name="connsiteX4" fmla="*/ 6551550 w 6929967"/>
                <a:gd name="connsiteY4" fmla="*/ 413613 h 617167"/>
                <a:gd name="connsiteX5" fmla="*/ 6552729 w 6929967"/>
                <a:gd name="connsiteY5" fmla="*/ 480091 h 617167"/>
                <a:gd name="connsiteX6" fmla="*/ 1 w 6929967"/>
                <a:gd name="connsiteY6" fmla="*/ 480091 h 617167"/>
                <a:gd name="connsiteX7" fmla="*/ 0 w 6929967"/>
                <a:gd name="connsiteY7" fmla="*/ 407577 h 617167"/>
                <a:gd name="connsiteX8" fmla="*/ 353525 w 6929967"/>
                <a:gd name="connsiteY8" fmla="*/ 329376 h 617167"/>
                <a:gd name="connsiteX9" fmla="*/ 0 w 6929967"/>
                <a:gd name="connsiteY9" fmla="*/ 191553 h 617167"/>
                <a:gd name="connsiteX10" fmla="*/ 1 w 6929967"/>
                <a:gd name="connsiteY10" fmla="*/ 119545 h 617167"/>
                <a:gd name="connsiteX0" fmla="*/ 1 w 6941727"/>
                <a:gd name="connsiteY0" fmla="*/ 119545 h 617167"/>
                <a:gd name="connsiteX1" fmla="*/ 6552729 w 6941727"/>
                <a:gd name="connsiteY1" fmla="*/ 119545 h 617167"/>
                <a:gd name="connsiteX2" fmla="*/ 6554071 w 6941727"/>
                <a:gd name="connsiteY2" fmla="*/ 187394 h 617167"/>
                <a:gd name="connsiteX3" fmla="*/ 6927578 w 6941727"/>
                <a:gd name="connsiteY3" fmla="*/ 282768 h 617167"/>
                <a:gd name="connsiteX4" fmla="*/ 6551550 w 6941727"/>
                <a:gd name="connsiteY4" fmla="*/ 413613 h 617167"/>
                <a:gd name="connsiteX5" fmla="*/ 6552729 w 6941727"/>
                <a:gd name="connsiteY5" fmla="*/ 480091 h 617167"/>
                <a:gd name="connsiteX6" fmla="*/ 1 w 6941727"/>
                <a:gd name="connsiteY6" fmla="*/ 480091 h 617167"/>
                <a:gd name="connsiteX7" fmla="*/ 0 w 6941727"/>
                <a:gd name="connsiteY7" fmla="*/ 407577 h 617167"/>
                <a:gd name="connsiteX8" fmla="*/ 353525 w 6941727"/>
                <a:gd name="connsiteY8" fmla="*/ 329376 h 617167"/>
                <a:gd name="connsiteX9" fmla="*/ 0 w 6941727"/>
                <a:gd name="connsiteY9" fmla="*/ 191553 h 617167"/>
                <a:gd name="connsiteX10" fmla="*/ 1 w 6941727"/>
                <a:gd name="connsiteY10" fmla="*/ 119545 h 617167"/>
                <a:gd name="connsiteX0" fmla="*/ 1 w 6892955"/>
                <a:gd name="connsiteY0" fmla="*/ 119545 h 617167"/>
                <a:gd name="connsiteX1" fmla="*/ 6552729 w 6892955"/>
                <a:gd name="connsiteY1" fmla="*/ 119545 h 617167"/>
                <a:gd name="connsiteX2" fmla="*/ 6554071 w 6892955"/>
                <a:gd name="connsiteY2" fmla="*/ 187394 h 617167"/>
                <a:gd name="connsiteX3" fmla="*/ 6878806 w 6892955"/>
                <a:gd name="connsiteY3" fmla="*/ 285156 h 617167"/>
                <a:gd name="connsiteX4" fmla="*/ 6551550 w 6892955"/>
                <a:gd name="connsiteY4" fmla="*/ 413613 h 617167"/>
                <a:gd name="connsiteX5" fmla="*/ 6552729 w 6892955"/>
                <a:gd name="connsiteY5" fmla="*/ 480091 h 617167"/>
                <a:gd name="connsiteX6" fmla="*/ 1 w 6892955"/>
                <a:gd name="connsiteY6" fmla="*/ 480091 h 617167"/>
                <a:gd name="connsiteX7" fmla="*/ 0 w 6892955"/>
                <a:gd name="connsiteY7" fmla="*/ 407577 h 617167"/>
                <a:gd name="connsiteX8" fmla="*/ 353525 w 6892955"/>
                <a:gd name="connsiteY8" fmla="*/ 329376 h 617167"/>
                <a:gd name="connsiteX9" fmla="*/ 0 w 6892955"/>
                <a:gd name="connsiteY9" fmla="*/ 191553 h 617167"/>
                <a:gd name="connsiteX10" fmla="*/ 1 w 6892955"/>
                <a:gd name="connsiteY10" fmla="*/ 119545 h 617167"/>
                <a:gd name="connsiteX0" fmla="*/ 1 w 6829263"/>
                <a:gd name="connsiteY0" fmla="*/ 119545 h 617167"/>
                <a:gd name="connsiteX1" fmla="*/ 6552729 w 6829263"/>
                <a:gd name="connsiteY1" fmla="*/ 119545 h 617167"/>
                <a:gd name="connsiteX2" fmla="*/ 6554071 w 6829263"/>
                <a:gd name="connsiteY2" fmla="*/ 187394 h 617167"/>
                <a:gd name="connsiteX3" fmla="*/ 6815114 w 6829263"/>
                <a:gd name="connsiteY3" fmla="*/ 285156 h 617167"/>
                <a:gd name="connsiteX4" fmla="*/ 6551550 w 6829263"/>
                <a:gd name="connsiteY4" fmla="*/ 413613 h 617167"/>
                <a:gd name="connsiteX5" fmla="*/ 6552729 w 6829263"/>
                <a:gd name="connsiteY5" fmla="*/ 480091 h 617167"/>
                <a:gd name="connsiteX6" fmla="*/ 1 w 6829263"/>
                <a:gd name="connsiteY6" fmla="*/ 480091 h 617167"/>
                <a:gd name="connsiteX7" fmla="*/ 0 w 6829263"/>
                <a:gd name="connsiteY7" fmla="*/ 407577 h 617167"/>
                <a:gd name="connsiteX8" fmla="*/ 353525 w 6829263"/>
                <a:gd name="connsiteY8" fmla="*/ 329376 h 617167"/>
                <a:gd name="connsiteX9" fmla="*/ 0 w 6829263"/>
                <a:gd name="connsiteY9" fmla="*/ 191553 h 617167"/>
                <a:gd name="connsiteX10" fmla="*/ 1 w 6829263"/>
                <a:gd name="connsiteY10" fmla="*/ 119545 h 617167"/>
                <a:gd name="connsiteX0" fmla="*/ 1 w 6829262"/>
                <a:gd name="connsiteY0" fmla="*/ 119545 h 617167"/>
                <a:gd name="connsiteX1" fmla="*/ 6552729 w 6829262"/>
                <a:gd name="connsiteY1" fmla="*/ 119545 h 617167"/>
                <a:gd name="connsiteX2" fmla="*/ 6554071 w 6829262"/>
                <a:gd name="connsiteY2" fmla="*/ 187394 h 617167"/>
                <a:gd name="connsiteX3" fmla="*/ 6815113 w 6829262"/>
                <a:gd name="connsiteY3" fmla="*/ 285156 h 617167"/>
                <a:gd name="connsiteX4" fmla="*/ 6551550 w 6829262"/>
                <a:gd name="connsiteY4" fmla="*/ 413613 h 617167"/>
                <a:gd name="connsiteX5" fmla="*/ 6552729 w 6829262"/>
                <a:gd name="connsiteY5" fmla="*/ 480091 h 617167"/>
                <a:gd name="connsiteX6" fmla="*/ 1 w 6829262"/>
                <a:gd name="connsiteY6" fmla="*/ 480091 h 617167"/>
                <a:gd name="connsiteX7" fmla="*/ 0 w 6829262"/>
                <a:gd name="connsiteY7" fmla="*/ 407577 h 617167"/>
                <a:gd name="connsiteX8" fmla="*/ 353525 w 6829262"/>
                <a:gd name="connsiteY8" fmla="*/ 329376 h 617167"/>
                <a:gd name="connsiteX9" fmla="*/ 0 w 6829262"/>
                <a:gd name="connsiteY9" fmla="*/ 191553 h 617167"/>
                <a:gd name="connsiteX10" fmla="*/ 1 w 6829262"/>
                <a:gd name="connsiteY10" fmla="*/ 119545 h 617167"/>
                <a:gd name="connsiteX0" fmla="*/ 1 w 6829262"/>
                <a:gd name="connsiteY0" fmla="*/ 91149 h 617167"/>
                <a:gd name="connsiteX1" fmla="*/ 6552729 w 6829262"/>
                <a:gd name="connsiteY1" fmla="*/ 91149 h 617167"/>
                <a:gd name="connsiteX2" fmla="*/ 6554071 w 6829262"/>
                <a:gd name="connsiteY2" fmla="*/ 158998 h 617167"/>
                <a:gd name="connsiteX3" fmla="*/ 6815113 w 6829262"/>
                <a:gd name="connsiteY3" fmla="*/ 256760 h 617167"/>
                <a:gd name="connsiteX4" fmla="*/ 6551550 w 6829262"/>
                <a:gd name="connsiteY4" fmla="*/ 385217 h 617167"/>
                <a:gd name="connsiteX5" fmla="*/ 6552729 w 6829262"/>
                <a:gd name="connsiteY5" fmla="*/ 451695 h 617167"/>
                <a:gd name="connsiteX6" fmla="*/ 1 w 6829262"/>
                <a:gd name="connsiteY6" fmla="*/ 451695 h 617167"/>
                <a:gd name="connsiteX7" fmla="*/ 0 w 6829262"/>
                <a:gd name="connsiteY7" fmla="*/ 379181 h 617167"/>
                <a:gd name="connsiteX8" fmla="*/ 318530 w 6829262"/>
                <a:gd name="connsiteY8" fmla="*/ 329376 h 617167"/>
                <a:gd name="connsiteX9" fmla="*/ 0 w 6829262"/>
                <a:gd name="connsiteY9" fmla="*/ 163157 h 617167"/>
                <a:gd name="connsiteX10" fmla="*/ 1 w 6829262"/>
                <a:gd name="connsiteY10" fmla="*/ 91149 h 617167"/>
                <a:gd name="connsiteX0" fmla="*/ 1 w 6829262"/>
                <a:gd name="connsiteY0" fmla="*/ 91149 h 565801"/>
                <a:gd name="connsiteX1" fmla="*/ 6552729 w 6829262"/>
                <a:gd name="connsiteY1" fmla="*/ 91149 h 565801"/>
                <a:gd name="connsiteX2" fmla="*/ 6554071 w 6829262"/>
                <a:gd name="connsiteY2" fmla="*/ 158998 h 565801"/>
                <a:gd name="connsiteX3" fmla="*/ 6815113 w 6829262"/>
                <a:gd name="connsiteY3" fmla="*/ 256760 h 565801"/>
                <a:gd name="connsiteX4" fmla="*/ 6551550 w 6829262"/>
                <a:gd name="connsiteY4" fmla="*/ 385217 h 565801"/>
                <a:gd name="connsiteX5" fmla="*/ 6552729 w 6829262"/>
                <a:gd name="connsiteY5" fmla="*/ 451695 h 565801"/>
                <a:gd name="connsiteX6" fmla="*/ 1 w 6829262"/>
                <a:gd name="connsiteY6" fmla="*/ 451695 h 565801"/>
                <a:gd name="connsiteX7" fmla="*/ 0 w 6829262"/>
                <a:gd name="connsiteY7" fmla="*/ 379181 h 565801"/>
                <a:gd name="connsiteX8" fmla="*/ 318530 w 6829262"/>
                <a:gd name="connsiteY8" fmla="*/ 329376 h 565801"/>
                <a:gd name="connsiteX9" fmla="*/ 0 w 6829262"/>
                <a:gd name="connsiteY9" fmla="*/ 163157 h 565801"/>
                <a:gd name="connsiteX10" fmla="*/ 1 w 6829262"/>
                <a:gd name="connsiteY10" fmla="*/ 91149 h 565801"/>
                <a:gd name="connsiteX0" fmla="*/ 1 w 6829262"/>
                <a:gd name="connsiteY0" fmla="*/ 91148 h 565800"/>
                <a:gd name="connsiteX1" fmla="*/ 6552729 w 6829262"/>
                <a:gd name="connsiteY1" fmla="*/ 91148 h 565800"/>
                <a:gd name="connsiteX2" fmla="*/ 6554071 w 6829262"/>
                <a:gd name="connsiteY2" fmla="*/ 158997 h 565800"/>
                <a:gd name="connsiteX3" fmla="*/ 6815113 w 6829262"/>
                <a:gd name="connsiteY3" fmla="*/ 256759 h 565800"/>
                <a:gd name="connsiteX4" fmla="*/ 6551550 w 6829262"/>
                <a:gd name="connsiteY4" fmla="*/ 385216 h 565800"/>
                <a:gd name="connsiteX5" fmla="*/ 6552729 w 6829262"/>
                <a:gd name="connsiteY5" fmla="*/ 451694 h 565800"/>
                <a:gd name="connsiteX6" fmla="*/ 1 w 6829262"/>
                <a:gd name="connsiteY6" fmla="*/ 451694 h 565800"/>
                <a:gd name="connsiteX7" fmla="*/ 0 w 6829262"/>
                <a:gd name="connsiteY7" fmla="*/ 379180 h 565800"/>
                <a:gd name="connsiteX8" fmla="*/ 318530 w 6829262"/>
                <a:gd name="connsiteY8" fmla="*/ 329376 h 565800"/>
                <a:gd name="connsiteX9" fmla="*/ 0 w 6829262"/>
                <a:gd name="connsiteY9" fmla="*/ 163156 h 565800"/>
                <a:gd name="connsiteX10" fmla="*/ 1 w 6829262"/>
                <a:gd name="connsiteY10" fmla="*/ 91148 h 565800"/>
                <a:gd name="connsiteX0" fmla="*/ 1 w 6829262"/>
                <a:gd name="connsiteY0" fmla="*/ 91148 h 565800"/>
                <a:gd name="connsiteX1" fmla="*/ 6552729 w 6829262"/>
                <a:gd name="connsiteY1" fmla="*/ 91148 h 565800"/>
                <a:gd name="connsiteX2" fmla="*/ 6554071 w 6829262"/>
                <a:gd name="connsiteY2" fmla="*/ 158997 h 565800"/>
                <a:gd name="connsiteX3" fmla="*/ 6815113 w 6829262"/>
                <a:gd name="connsiteY3" fmla="*/ 256759 h 565800"/>
                <a:gd name="connsiteX4" fmla="*/ 6551550 w 6829262"/>
                <a:gd name="connsiteY4" fmla="*/ 385216 h 565800"/>
                <a:gd name="connsiteX5" fmla="*/ 6552729 w 6829262"/>
                <a:gd name="connsiteY5" fmla="*/ 451694 h 565800"/>
                <a:gd name="connsiteX6" fmla="*/ 1 w 6829262"/>
                <a:gd name="connsiteY6" fmla="*/ 451694 h 565800"/>
                <a:gd name="connsiteX7" fmla="*/ 0 w 6829262"/>
                <a:gd name="connsiteY7" fmla="*/ 379180 h 565800"/>
                <a:gd name="connsiteX8" fmla="*/ 318530 w 6829262"/>
                <a:gd name="connsiteY8" fmla="*/ 329376 h 565800"/>
                <a:gd name="connsiteX9" fmla="*/ 0 w 6829262"/>
                <a:gd name="connsiteY9" fmla="*/ 163156 h 565800"/>
                <a:gd name="connsiteX10" fmla="*/ 1 w 6829262"/>
                <a:gd name="connsiteY10" fmla="*/ 91148 h 565800"/>
                <a:gd name="connsiteX0" fmla="*/ 1 w 6829262"/>
                <a:gd name="connsiteY0" fmla="*/ 91148 h 565800"/>
                <a:gd name="connsiteX1" fmla="*/ 6552729 w 6829262"/>
                <a:gd name="connsiteY1" fmla="*/ 91148 h 565800"/>
                <a:gd name="connsiteX2" fmla="*/ 6554071 w 6829262"/>
                <a:gd name="connsiteY2" fmla="*/ 158997 h 565800"/>
                <a:gd name="connsiteX3" fmla="*/ 6815113 w 6829262"/>
                <a:gd name="connsiteY3" fmla="*/ 256759 h 565800"/>
                <a:gd name="connsiteX4" fmla="*/ 6551550 w 6829262"/>
                <a:gd name="connsiteY4" fmla="*/ 385216 h 565800"/>
                <a:gd name="connsiteX5" fmla="*/ 6552729 w 6829262"/>
                <a:gd name="connsiteY5" fmla="*/ 451694 h 565800"/>
                <a:gd name="connsiteX6" fmla="*/ 1 w 6829262"/>
                <a:gd name="connsiteY6" fmla="*/ 451694 h 565800"/>
                <a:gd name="connsiteX7" fmla="*/ 0 w 6829262"/>
                <a:gd name="connsiteY7" fmla="*/ 379180 h 565800"/>
                <a:gd name="connsiteX8" fmla="*/ 318530 w 6829262"/>
                <a:gd name="connsiteY8" fmla="*/ 329376 h 565800"/>
                <a:gd name="connsiteX9" fmla="*/ 0 w 6829262"/>
                <a:gd name="connsiteY9" fmla="*/ 163156 h 565800"/>
                <a:gd name="connsiteX10" fmla="*/ 1 w 6829262"/>
                <a:gd name="connsiteY10" fmla="*/ 91148 h 56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29262" h="565800">
                  <a:moveTo>
                    <a:pt x="1" y="91148"/>
                  </a:moveTo>
                  <a:lnTo>
                    <a:pt x="6552729" y="91148"/>
                  </a:lnTo>
                  <a:cubicBezTo>
                    <a:pt x="6553176" y="113764"/>
                    <a:pt x="6553624" y="136381"/>
                    <a:pt x="6554071" y="158997"/>
                  </a:cubicBezTo>
                  <a:cubicBezTo>
                    <a:pt x="6553875" y="186974"/>
                    <a:pt x="6817502" y="5190"/>
                    <a:pt x="6815113" y="256759"/>
                  </a:cubicBezTo>
                  <a:cubicBezTo>
                    <a:pt x="6829262" y="565800"/>
                    <a:pt x="6551354" y="353102"/>
                    <a:pt x="6551550" y="385216"/>
                  </a:cubicBezTo>
                  <a:lnTo>
                    <a:pt x="6552729" y="451694"/>
                  </a:lnTo>
                  <a:lnTo>
                    <a:pt x="1" y="451694"/>
                  </a:lnTo>
                  <a:cubicBezTo>
                    <a:pt x="1" y="427523"/>
                    <a:pt x="0" y="403351"/>
                    <a:pt x="0" y="379180"/>
                  </a:cubicBezTo>
                  <a:cubicBezTo>
                    <a:pt x="37811" y="297513"/>
                    <a:pt x="211380" y="509276"/>
                    <a:pt x="318530" y="329376"/>
                  </a:cubicBezTo>
                  <a:cubicBezTo>
                    <a:pt x="309846" y="0"/>
                    <a:pt x="81664" y="248005"/>
                    <a:pt x="0" y="163156"/>
                  </a:cubicBezTo>
                  <a:cubicBezTo>
                    <a:pt x="0" y="139153"/>
                    <a:pt x="1" y="115151"/>
                    <a:pt x="1" y="9114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Market</a:t>
              </a:r>
              <a:endParaRPr lang="en-US" sz="900" b="1" dirty="0"/>
            </a:p>
          </p:txBody>
        </p:sp>
        <p:sp>
          <p:nvSpPr>
            <p:cNvPr id="80" name="Rechteck 79"/>
            <p:cNvSpPr/>
            <p:nvPr/>
          </p:nvSpPr>
          <p:spPr>
            <a:xfrm>
              <a:off x="9273520" y="1201073"/>
              <a:ext cx="360000" cy="41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54000" tIns="54000" rIns="54000" bIns="54000" rtlCol="0" anchor="ctr"/>
            <a:lstStyle/>
            <a:p>
              <a:pPr algn="ctr"/>
              <a:r>
                <a:rPr lang="en-US" sz="900" b="1" dirty="0" smtClean="0"/>
                <a:t>Core statement/Conclusive valuation</a:t>
              </a:r>
              <a:endParaRPr lang="en-US" sz="900" b="1" dirty="0"/>
            </a:p>
          </p:txBody>
        </p:sp>
        <p:grpSp>
          <p:nvGrpSpPr>
            <p:cNvPr id="81" name="Gruppieren 42"/>
            <p:cNvGrpSpPr>
              <a:grpSpLocks noChangeAspect="1"/>
            </p:cNvGrpSpPr>
            <p:nvPr/>
          </p:nvGrpSpPr>
          <p:grpSpPr>
            <a:xfrm>
              <a:off x="834859" y="1844824"/>
              <a:ext cx="7380199" cy="2872297"/>
              <a:chOff x="789797" y="2313176"/>
              <a:chExt cx="6937499" cy="2700000"/>
            </a:xfrm>
          </p:grpSpPr>
          <p:sp>
            <p:nvSpPr>
              <p:cNvPr id="82" name="Freihandform 81"/>
              <p:cNvSpPr/>
              <p:nvPr/>
            </p:nvSpPr>
            <p:spPr>
              <a:xfrm rot="5400000">
                <a:off x="2657894" y="1866186"/>
                <a:ext cx="879800" cy="1838203"/>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4319" h="3528490">
                    <a:moveTo>
                      <a:pt x="0" y="717940"/>
                    </a:moveTo>
                    <a:lnTo>
                      <a:pt x="792113" y="717940"/>
                    </a:lnTo>
                    <a:cubicBezTo>
                      <a:pt x="893363" y="632383"/>
                      <a:pt x="421647" y="35191"/>
                      <a:pt x="1080152" y="0"/>
                    </a:cubicBezTo>
                    <a:cubicBezTo>
                      <a:pt x="1668886" y="80045"/>
                      <a:pt x="1276924" y="516202"/>
                      <a:pt x="1382211" y="726242"/>
                    </a:cubicBezTo>
                    <a:lnTo>
                      <a:pt x="2160300" y="717940"/>
                    </a:lnTo>
                    <a:lnTo>
                      <a:pt x="2174319" y="1438040"/>
                    </a:lnTo>
                    <a:lnTo>
                      <a:pt x="2174319" y="1510050"/>
                    </a:lnTo>
                    <a:cubicBezTo>
                      <a:pt x="2067113" y="1702066"/>
                      <a:pt x="1555551" y="1141974"/>
                      <a:pt x="1512208" y="1798090"/>
                    </a:cubicBezTo>
                    <a:cubicBezTo>
                      <a:pt x="1569532" y="2422296"/>
                      <a:pt x="2015314" y="2001165"/>
                      <a:pt x="2174319" y="2086130"/>
                    </a:cubicBezTo>
                    <a:cubicBezTo>
                      <a:pt x="2174067" y="2381300"/>
                      <a:pt x="2166256" y="2590200"/>
                      <a:pt x="2162225" y="2878240"/>
                    </a:cubicBezTo>
                    <a:cubicBezTo>
                      <a:pt x="2162224" y="2870497"/>
                      <a:pt x="2174319" y="2052696"/>
                      <a:pt x="2160300" y="2878240"/>
                    </a:cubicBezTo>
                    <a:lnTo>
                      <a:pt x="1368188" y="2878240"/>
                    </a:lnTo>
                    <a:cubicBezTo>
                      <a:pt x="1267741" y="2878240"/>
                      <a:pt x="1696945" y="3528490"/>
                      <a:pt x="1080148" y="3526330"/>
                    </a:cubicBezTo>
                    <a:cubicBezTo>
                      <a:pt x="458508" y="3526330"/>
                      <a:pt x="883688" y="2880790"/>
                      <a:pt x="792108" y="2880790"/>
                    </a:cubicBezTo>
                    <a:lnTo>
                      <a:pt x="0" y="2878240"/>
                    </a:lnTo>
                    <a:lnTo>
                      <a:pt x="0" y="717940"/>
                    </a:lnTo>
                    <a:close/>
                  </a:path>
                </a:pathLst>
              </a:cu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83" name="Freihandform 82"/>
              <p:cNvSpPr/>
              <p:nvPr/>
            </p:nvSpPr>
            <p:spPr>
              <a:xfrm rot="5400000">
                <a:off x="1069723" y="2901976"/>
                <a:ext cx="1408284" cy="1461725"/>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0 w 2192141"/>
                  <a:gd name="connsiteY15" fmla="*/ 2034210 h 3528490"/>
                  <a:gd name="connsiteX16" fmla="*/ 17822 w 2192141"/>
                  <a:gd name="connsiteY16"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0 w 2192141"/>
                  <a:gd name="connsiteY15" fmla="*/ 2034210 h 3528490"/>
                  <a:gd name="connsiteX16" fmla="*/ 17822 w 2192141"/>
                  <a:gd name="connsiteY16" fmla="*/ 717940 h 3528490"/>
                  <a:gd name="connsiteX17" fmla="*/ 0 w 2192141"/>
                  <a:gd name="connsiteY17" fmla="*/ 162781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24172 w 2198491"/>
                  <a:gd name="connsiteY0" fmla="*/ 717940 h 3528490"/>
                  <a:gd name="connsiteX1" fmla="*/ 816285 w 2198491"/>
                  <a:gd name="connsiteY1" fmla="*/ 717940 h 3528490"/>
                  <a:gd name="connsiteX2" fmla="*/ 1104324 w 2198491"/>
                  <a:gd name="connsiteY2" fmla="*/ 0 h 3528490"/>
                  <a:gd name="connsiteX3" fmla="*/ 1406383 w 2198491"/>
                  <a:gd name="connsiteY3" fmla="*/ 726242 h 3528490"/>
                  <a:gd name="connsiteX4" fmla="*/ 2184472 w 2198491"/>
                  <a:gd name="connsiteY4" fmla="*/ 717940 h 3528490"/>
                  <a:gd name="connsiteX5" fmla="*/ 2198491 w 2198491"/>
                  <a:gd name="connsiteY5" fmla="*/ 1438040 h 3528490"/>
                  <a:gd name="connsiteX6" fmla="*/ 2198491 w 2198491"/>
                  <a:gd name="connsiteY6" fmla="*/ 1510050 h 3528490"/>
                  <a:gd name="connsiteX7" fmla="*/ 1536380 w 2198491"/>
                  <a:gd name="connsiteY7" fmla="*/ 1798090 h 3528490"/>
                  <a:gd name="connsiteX8" fmla="*/ 2198491 w 2198491"/>
                  <a:gd name="connsiteY8" fmla="*/ 2086130 h 3528490"/>
                  <a:gd name="connsiteX9" fmla="*/ 2186397 w 2198491"/>
                  <a:gd name="connsiteY9" fmla="*/ 2878240 h 3528490"/>
                  <a:gd name="connsiteX10" fmla="*/ 2184472 w 2198491"/>
                  <a:gd name="connsiteY10" fmla="*/ 2878240 h 3528490"/>
                  <a:gd name="connsiteX11" fmla="*/ 1392360 w 2198491"/>
                  <a:gd name="connsiteY11" fmla="*/ 2878240 h 3528490"/>
                  <a:gd name="connsiteX12" fmla="*/ 1104320 w 2198491"/>
                  <a:gd name="connsiteY12" fmla="*/ 3526330 h 3528490"/>
                  <a:gd name="connsiteX13" fmla="*/ 816280 w 2198491"/>
                  <a:gd name="connsiteY13" fmla="*/ 2880790 h 3528490"/>
                  <a:gd name="connsiteX14" fmla="*/ 24172 w 2198491"/>
                  <a:gd name="connsiteY14" fmla="*/ 2878240 h 3528490"/>
                  <a:gd name="connsiteX15" fmla="*/ 6351 w 2198491"/>
                  <a:gd name="connsiteY15" fmla="*/ 2037490 h 3528490"/>
                  <a:gd name="connsiteX16" fmla="*/ 0 w 2198491"/>
                  <a:gd name="connsiteY16" fmla="*/ 1837360 h 3528490"/>
                  <a:gd name="connsiteX17" fmla="*/ 24172 w 2198491"/>
                  <a:gd name="connsiteY17" fmla="*/ 717940 h 3528490"/>
                  <a:gd name="connsiteX18" fmla="*/ 6350 w 2198491"/>
                  <a:gd name="connsiteY18" fmla="*/ 1627810 h 3528490"/>
                  <a:gd name="connsiteX19" fmla="*/ 24172 w 2198491"/>
                  <a:gd name="connsiteY19"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24171 w 2198490"/>
                  <a:gd name="connsiteY19"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2 w 2198491"/>
                  <a:gd name="connsiteY0" fmla="*/ 717940 h 3528490"/>
                  <a:gd name="connsiteX1" fmla="*/ 816285 w 2198491"/>
                  <a:gd name="connsiteY1" fmla="*/ 717940 h 3528490"/>
                  <a:gd name="connsiteX2" fmla="*/ 1104324 w 2198491"/>
                  <a:gd name="connsiteY2" fmla="*/ 0 h 3528490"/>
                  <a:gd name="connsiteX3" fmla="*/ 1406383 w 2198491"/>
                  <a:gd name="connsiteY3" fmla="*/ 726242 h 3528490"/>
                  <a:gd name="connsiteX4" fmla="*/ 2184472 w 2198491"/>
                  <a:gd name="connsiteY4" fmla="*/ 717940 h 3528490"/>
                  <a:gd name="connsiteX5" fmla="*/ 2198491 w 2198491"/>
                  <a:gd name="connsiteY5" fmla="*/ 1438040 h 3528490"/>
                  <a:gd name="connsiteX6" fmla="*/ 2198491 w 2198491"/>
                  <a:gd name="connsiteY6" fmla="*/ 1510050 h 3528490"/>
                  <a:gd name="connsiteX7" fmla="*/ 1536380 w 2198491"/>
                  <a:gd name="connsiteY7" fmla="*/ 1798090 h 3528490"/>
                  <a:gd name="connsiteX8" fmla="*/ 2198491 w 2198491"/>
                  <a:gd name="connsiteY8" fmla="*/ 2086130 h 3528490"/>
                  <a:gd name="connsiteX9" fmla="*/ 2186397 w 2198491"/>
                  <a:gd name="connsiteY9" fmla="*/ 2878240 h 3528490"/>
                  <a:gd name="connsiteX10" fmla="*/ 2184472 w 2198491"/>
                  <a:gd name="connsiteY10" fmla="*/ 2878240 h 3528490"/>
                  <a:gd name="connsiteX11" fmla="*/ 1392360 w 2198491"/>
                  <a:gd name="connsiteY11" fmla="*/ 2878240 h 3528490"/>
                  <a:gd name="connsiteX12" fmla="*/ 1104320 w 2198491"/>
                  <a:gd name="connsiteY12" fmla="*/ 3526330 h 3528490"/>
                  <a:gd name="connsiteX13" fmla="*/ 816280 w 2198491"/>
                  <a:gd name="connsiteY13" fmla="*/ 2880790 h 3528490"/>
                  <a:gd name="connsiteX14" fmla="*/ 24172 w 2198491"/>
                  <a:gd name="connsiteY14" fmla="*/ 2878240 h 3528490"/>
                  <a:gd name="connsiteX15" fmla="*/ 6351 w 2198491"/>
                  <a:gd name="connsiteY15" fmla="*/ 2037490 h 3528490"/>
                  <a:gd name="connsiteX16" fmla="*/ 1 w 2198491"/>
                  <a:gd name="connsiteY16" fmla="*/ 1893470 h 3528490"/>
                  <a:gd name="connsiteX17" fmla="*/ 24172 w 2198491"/>
                  <a:gd name="connsiteY17" fmla="*/ 717940 h 3528490"/>
                  <a:gd name="connsiteX18" fmla="*/ 1 w 2198491"/>
                  <a:gd name="connsiteY18" fmla="*/ 1383687 h 3528490"/>
                  <a:gd name="connsiteX19" fmla="*/ 12700 w 2198491"/>
                  <a:gd name="connsiteY19" fmla="*/ 1545260 h 3528490"/>
                  <a:gd name="connsiteX20" fmla="*/ 0 w 2198491"/>
                  <a:gd name="connsiteY20" fmla="*/ 1443660 h 3528490"/>
                  <a:gd name="connsiteX21" fmla="*/ 24172 w 2198491"/>
                  <a:gd name="connsiteY21"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533420 h 3528490"/>
                  <a:gd name="connsiteX19" fmla="*/ 12699 w 2198490"/>
                  <a:gd name="connsiteY19" fmla="*/ 1545260 h 3528490"/>
                  <a:gd name="connsiteX20" fmla="*/ 24171 w 2198490"/>
                  <a:gd name="connsiteY20" fmla="*/ 717940 h 3528490"/>
                  <a:gd name="connsiteX0" fmla="*/ 27141 w 2201460"/>
                  <a:gd name="connsiteY0" fmla="*/ 717940 h 3528490"/>
                  <a:gd name="connsiteX1" fmla="*/ 819254 w 2201460"/>
                  <a:gd name="connsiteY1" fmla="*/ 717940 h 3528490"/>
                  <a:gd name="connsiteX2" fmla="*/ 1107293 w 2201460"/>
                  <a:gd name="connsiteY2" fmla="*/ 0 h 3528490"/>
                  <a:gd name="connsiteX3" fmla="*/ 1409352 w 2201460"/>
                  <a:gd name="connsiteY3" fmla="*/ 726242 h 3528490"/>
                  <a:gd name="connsiteX4" fmla="*/ 2187441 w 2201460"/>
                  <a:gd name="connsiteY4" fmla="*/ 717940 h 3528490"/>
                  <a:gd name="connsiteX5" fmla="*/ 2201460 w 2201460"/>
                  <a:gd name="connsiteY5" fmla="*/ 1438040 h 3528490"/>
                  <a:gd name="connsiteX6" fmla="*/ 2201460 w 2201460"/>
                  <a:gd name="connsiteY6" fmla="*/ 1510050 h 3528490"/>
                  <a:gd name="connsiteX7" fmla="*/ 1539349 w 2201460"/>
                  <a:gd name="connsiteY7" fmla="*/ 1798090 h 3528490"/>
                  <a:gd name="connsiteX8" fmla="*/ 2201460 w 2201460"/>
                  <a:gd name="connsiteY8" fmla="*/ 2086130 h 3528490"/>
                  <a:gd name="connsiteX9" fmla="*/ 2189366 w 2201460"/>
                  <a:gd name="connsiteY9" fmla="*/ 2878240 h 3528490"/>
                  <a:gd name="connsiteX10" fmla="*/ 2187441 w 2201460"/>
                  <a:gd name="connsiteY10" fmla="*/ 2878240 h 3528490"/>
                  <a:gd name="connsiteX11" fmla="*/ 1395329 w 2201460"/>
                  <a:gd name="connsiteY11" fmla="*/ 2878240 h 3528490"/>
                  <a:gd name="connsiteX12" fmla="*/ 1107289 w 2201460"/>
                  <a:gd name="connsiteY12" fmla="*/ 3526330 h 3528490"/>
                  <a:gd name="connsiteX13" fmla="*/ 819249 w 2201460"/>
                  <a:gd name="connsiteY13" fmla="*/ 2880790 h 3528490"/>
                  <a:gd name="connsiteX14" fmla="*/ 27141 w 2201460"/>
                  <a:gd name="connsiteY14" fmla="*/ 2878240 h 3528490"/>
                  <a:gd name="connsiteX15" fmla="*/ 9320 w 2201460"/>
                  <a:gd name="connsiteY15" fmla="*/ 2037490 h 3528490"/>
                  <a:gd name="connsiteX16" fmla="*/ 2970 w 2201460"/>
                  <a:gd name="connsiteY16" fmla="*/ 1893470 h 3528490"/>
                  <a:gd name="connsiteX17" fmla="*/ 27141 w 2201460"/>
                  <a:gd name="connsiteY17" fmla="*/ 717940 h 3528490"/>
                  <a:gd name="connsiteX18" fmla="*/ 2970 w 2201460"/>
                  <a:gd name="connsiteY18" fmla="*/ 1533420 h 3528490"/>
                  <a:gd name="connsiteX19" fmla="*/ 9319 w 2201460"/>
                  <a:gd name="connsiteY19" fmla="*/ 1704010 h 3528490"/>
                  <a:gd name="connsiteX20" fmla="*/ 15669 w 2201460"/>
                  <a:gd name="connsiteY20" fmla="*/ 1545260 h 3528490"/>
                  <a:gd name="connsiteX21" fmla="*/ 27141 w 2201460"/>
                  <a:gd name="connsiteY21" fmla="*/ 717940 h 3528490"/>
                  <a:gd name="connsiteX0" fmla="*/ 26083 w 2200402"/>
                  <a:gd name="connsiteY0" fmla="*/ 717940 h 3528490"/>
                  <a:gd name="connsiteX1" fmla="*/ 818196 w 2200402"/>
                  <a:gd name="connsiteY1" fmla="*/ 717940 h 3528490"/>
                  <a:gd name="connsiteX2" fmla="*/ 1106235 w 2200402"/>
                  <a:gd name="connsiteY2" fmla="*/ 0 h 3528490"/>
                  <a:gd name="connsiteX3" fmla="*/ 1408294 w 2200402"/>
                  <a:gd name="connsiteY3" fmla="*/ 726242 h 3528490"/>
                  <a:gd name="connsiteX4" fmla="*/ 2186383 w 2200402"/>
                  <a:gd name="connsiteY4" fmla="*/ 717940 h 3528490"/>
                  <a:gd name="connsiteX5" fmla="*/ 2200402 w 2200402"/>
                  <a:gd name="connsiteY5" fmla="*/ 1438040 h 3528490"/>
                  <a:gd name="connsiteX6" fmla="*/ 2200402 w 2200402"/>
                  <a:gd name="connsiteY6" fmla="*/ 1510050 h 3528490"/>
                  <a:gd name="connsiteX7" fmla="*/ 1538291 w 2200402"/>
                  <a:gd name="connsiteY7" fmla="*/ 1798090 h 3528490"/>
                  <a:gd name="connsiteX8" fmla="*/ 2200402 w 2200402"/>
                  <a:gd name="connsiteY8" fmla="*/ 2086130 h 3528490"/>
                  <a:gd name="connsiteX9" fmla="*/ 2188308 w 2200402"/>
                  <a:gd name="connsiteY9" fmla="*/ 2878240 h 3528490"/>
                  <a:gd name="connsiteX10" fmla="*/ 2186383 w 2200402"/>
                  <a:gd name="connsiteY10" fmla="*/ 2878240 h 3528490"/>
                  <a:gd name="connsiteX11" fmla="*/ 1394271 w 2200402"/>
                  <a:gd name="connsiteY11" fmla="*/ 2878240 h 3528490"/>
                  <a:gd name="connsiteX12" fmla="*/ 1106231 w 2200402"/>
                  <a:gd name="connsiteY12" fmla="*/ 3526330 h 3528490"/>
                  <a:gd name="connsiteX13" fmla="*/ 818191 w 2200402"/>
                  <a:gd name="connsiteY13" fmla="*/ 2880790 h 3528490"/>
                  <a:gd name="connsiteX14" fmla="*/ 26083 w 2200402"/>
                  <a:gd name="connsiteY14" fmla="*/ 2878240 h 3528490"/>
                  <a:gd name="connsiteX15" fmla="*/ 8262 w 2200402"/>
                  <a:gd name="connsiteY15" fmla="*/ 2037490 h 3528490"/>
                  <a:gd name="connsiteX16" fmla="*/ 1912 w 2200402"/>
                  <a:gd name="connsiteY16" fmla="*/ 1893470 h 3528490"/>
                  <a:gd name="connsiteX17" fmla="*/ 26083 w 2200402"/>
                  <a:gd name="connsiteY17" fmla="*/ 717940 h 3528490"/>
                  <a:gd name="connsiteX18" fmla="*/ 1912 w 2200402"/>
                  <a:gd name="connsiteY18" fmla="*/ 1533420 h 3528490"/>
                  <a:gd name="connsiteX19" fmla="*/ 14611 w 2200402"/>
                  <a:gd name="connsiteY19" fmla="*/ 1545260 h 3528490"/>
                  <a:gd name="connsiteX20" fmla="*/ 26083 w 2200402"/>
                  <a:gd name="connsiteY20" fmla="*/ 717940 h 3528490"/>
                  <a:gd name="connsiteX0" fmla="*/ 26083 w 2200402"/>
                  <a:gd name="connsiteY0" fmla="*/ 717940 h 3528490"/>
                  <a:gd name="connsiteX1" fmla="*/ 818196 w 2200402"/>
                  <a:gd name="connsiteY1" fmla="*/ 717940 h 3528490"/>
                  <a:gd name="connsiteX2" fmla="*/ 1106235 w 2200402"/>
                  <a:gd name="connsiteY2" fmla="*/ 0 h 3528490"/>
                  <a:gd name="connsiteX3" fmla="*/ 1408294 w 2200402"/>
                  <a:gd name="connsiteY3" fmla="*/ 726242 h 3528490"/>
                  <a:gd name="connsiteX4" fmla="*/ 2186383 w 2200402"/>
                  <a:gd name="connsiteY4" fmla="*/ 717940 h 3528490"/>
                  <a:gd name="connsiteX5" fmla="*/ 2200402 w 2200402"/>
                  <a:gd name="connsiteY5" fmla="*/ 1438040 h 3528490"/>
                  <a:gd name="connsiteX6" fmla="*/ 2200402 w 2200402"/>
                  <a:gd name="connsiteY6" fmla="*/ 1510050 h 3528490"/>
                  <a:gd name="connsiteX7" fmla="*/ 1538291 w 2200402"/>
                  <a:gd name="connsiteY7" fmla="*/ 1798090 h 3528490"/>
                  <a:gd name="connsiteX8" fmla="*/ 2200402 w 2200402"/>
                  <a:gd name="connsiteY8" fmla="*/ 2086130 h 3528490"/>
                  <a:gd name="connsiteX9" fmla="*/ 2188308 w 2200402"/>
                  <a:gd name="connsiteY9" fmla="*/ 2878240 h 3528490"/>
                  <a:gd name="connsiteX10" fmla="*/ 2186383 w 2200402"/>
                  <a:gd name="connsiteY10" fmla="*/ 2878240 h 3528490"/>
                  <a:gd name="connsiteX11" fmla="*/ 1394271 w 2200402"/>
                  <a:gd name="connsiteY11" fmla="*/ 2878240 h 3528490"/>
                  <a:gd name="connsiteX12" fmla="*/ 1106231 w 2200402"/>
                  <a:gd name="connsiteY12" fmla="*/ 3526330 h 3528490"/>
                  <a:gd name="connsiteX13" fmla="*/ 818191 w 2200402"/>
                  <a:gd name="connsiteY13" fmla="*/ 2880790 h 3528490"/>
                  <a:gd name="connsiteX14" fmla="*/ 26083 w 2200402"/>
                  <a:gd name="connsiteY14" fmla="*/ 2878240 h 3528490"/>
                  <a:gd name="connsiteX15" fmla="*/ 8262 w 2200402"/>
                  <a:gd name="connsiteY15" fmla="*/ 2037490 h 3528490"/>
                  <a:gd name="connsiteX16" fmla="*/ 0 w 2200402"/>
                  <a:gd name="connsiteY16" fmla="*/ 1893470 h 3528490"/>
                  <a:gd name="connsiteX17" fmla="*/ 26083 w 2200402"/>
                  <a:gd name="connsiteY17" fmla="*/ 717940 h 3528490"/>
                  <a:gd name="connsiteX18" fmla="*/ 1912 w 2200402"/>
                  <a:gd name="connsiteY18" fmla="*/ 1533420 h 3528490"/>
                  <a:gd name="connsiteX19" fmla="*/ 14611 w 2200402"/>
                  <a:gd name="connsiteY19" fmla="*/ 1545260 h 3528490"/>
                  <a:gd name="connsiteX20" fmla="*/ 26083 w 2200402"/>
                  <a:gd name="connsiteY20" fmla="*/ 717940 h 3528490"/>
                  <a:gd name="connsiteX0" fmla="*/ 30111 w 2204430"/>
                  <a:gd name="connsiteY0" fmla="*/ 717940 h 3528490"/>
                  <a:gd name="connsiteX1" fmla="*/ 822224 w 2204430"/>
                  <a:gd name="connsiteY1" fmla="*/ 717940 h 3528490"/>
                  <a:gd name="connsiteX2" fmla="*/ 1110263 w 2204430"/>
                  <a:gd name="connsiteY2" fmla="*/ 0 h 3528490"/>
                  <a:gd name="connsiteX3" fmla="*/ 1412322 w 2204430"/>
                  <a:gd name="connsiteY3" fmla="*/ 726242 h 3528490"/>
                  <a:gd name="connsiteX4" fmla="*/ 2190411 w 2204430"/>
                  <a:gd name="connsiteY4" fmla="*/ 717940 h 3528490"/>
                  <a:gd name="connsiteX5" fmla="*/ 2204430 w 2204430"/>
                  <a:gd name="connsiteY5" fmla="*/ 1438040 h 3528490"/>
                  <a:gd name="connsiteX6" fmla="*/ 2204430 w 2204430"/>
                  <a:gd name="connsiteY6" fmla="*/ 1510050 h 3528490"/>
                  <a:gd name="connsiteX7" fmla="*/ 1542319 w 2204430"/>
                  <a:gd name="connsiteY7" fmla="*/ 1798090 h 3528490"/>
                  <a:gd name="connsiteX8" fmla="*/ 2204430 w 2204430"/>
                  <a:gd name="connsiteY8" fmla="*/ 2086130 h 3528490"/>
                  <a:gd name="connsiteX9" fmla="*/ 2192336 w 2204430"/>
                  <a:gd name="connsiteY9" fmla="*/ 2878240 h 3528490"/>
                  <a:gd name="connsiteX10" fmla="*/ 2190411 w 2204430"/>
                  <a:gd name="connsiteY10" fmla="*/ 2878240 h 3528490"/>
                  <a:gd name="connsiteX11" fmla="*/ 1398299 w 2204430"/>
                  <a:gd name="connsiteY11" fmla="*/ 2878240 h 3528490"/>
                  <a:gd name="connsiteX12" fmla="*/ 1110259 w 2204430"/>
                  <a:gd name="connsiteY12" fmla="*/ 3526330 h 3528490"/>
                  <a:gd name="connsiteX13" fmla="*/ 822219 w 2204430"/>
                  <a:gd name="connsiteY13" fmla="*/ 2880790 h 3528490"/>
                  <a:gd name="connsiteX14" fmla="*/ 30111 w 2204430"/>
                  <a:gd name="connsiteY14" fmla="*/ 2878240 h 3528490"/>
                  <a:gd name="connsiteX15" fmla="*/ 12290 w 2204430"/>
                  <a:gd name="connsiteY15" fmla="*/ 2037490 h 3528490"/>
                  <a:gd name="connsiteX16" fmla="*/ 4028 w 2204430"/>
                  <a:gd name="connsiteY16" fmla="*/ 1893470 h 3528490"/>
                  <a:gd name="connsiteX17" fmla="*/ 30111 w 2204430"/>
                  <a:gd name="connsiteY17" fmla="*/ 717940 h 3528490"/>
                  <a:gd name="connsiteX18" fmla="*/ 5940 w 2204430"/>
                  <a:gd name="connsiteY18" fmla="*/ 1533420 h 3528490"/>
                  <a:gd name="connsiteX19" fmla="*/ 4028 w 2204430"/>
                  <a:gd name="connsiteY19" fmla="*/ 1605430 h 3528490"/>
                  <a:gd name="connsiteX20" fmla="*/ 30111 w 2204430"/>
                  <a:gd name="connsiteY20" fmla="*/ 717940 h 3528490"/>
                  <a:gd name="connsiteX0" fmla="*/ 30111 w 2204430"/>
                  <a:gd name="connsiteY0" fmla="*/ 717940 h 3528490"/>
                  <a:gd name="connsiteX1" fmla="*/ 822224 w 2204430"/>
                  <a:gd name="connsiteY1" fmla="*/ 717940 h 3528490"/>
                  <a:gd name="connsiteX2" fmla="*/ 1110263 w 2204430"/>
                  <a:gd name="connsiteY2" fmla="*/ 0 h 3528490"/>
                  <a:gd name="connsiteX3" fmla="*/ 1412322 w 2204430"/>
                  <a:gd name="connsiteY3" fmla="*/ 726242 h 3528490"/>
                  <a:gd name="connsiteX4" fmla="*/ 2190411 w 2204430"/>
                  <a:gd name="connsiteY4" fmla="*/ 717940 h 3528490"/>
                  <a:gd name="connsiteX5" fmla="*/ 2204430 w 2204430"/>
                  <a:gd name="connsiteY5" fmla="*/ 1438040 h 3528490"/>
                  <a:gd name="connsiteX6" fmla="*/ 2204430 w 2204430"/>
                  <a:gd name="connsiteY6" fmla="*/ 1510050 h 3528490"/>
                  <a:gd name="connsiteX7" fmla="*/ 1542319 w 2204430"/>
                  <a:gd name="connsiteY7" fmla="*/ 1798090 h 3528490"/>
                  <a:gd name="connsiteX8" fmla="*/ 2204430 w 2204430"/>
                  <a:gd name="connsiteY8" fmla="*/ 2086130 h 3528490"/>
                  <a:gd name="connsiteX9" fmla="*/ 2192336 w 2204430"/>
                  <a:gd name="connsiteY9" fmla="*/ 2878240 h 3528490"/>
                  <a:gd name="connsiteX10" fmla="*/ 2190411 w 2204430"/>
                  <a:gd name="connsiteY10" fmla="*/ 2878240 h 3528490"/>
                  <a:gd name="connsiteX11" fmla="*/ 1398299 w 2204430"/>
                  <a:gd name="connsiteY11" fmla="*/ 2878240 h 3528490"/>
                  <a:gd name="connsiteX12" fmla="*/ 1110259 w 2204430"/>
                  <a:gd name="connsiteY12" fmla="*/ 3526330 h 3528490"/>
                  <a:gd name="connsiteX13" fmla="*/ 822219 w 2204430"/>
                  <a:gd name="connsiteY13" fmla="*/ 2880790 h 3528490"/>
                  <a:gd name="connsiteX14" fmla="*/ 30111 w 2204430"/>
                  <a:gd name="connsiteY14" fmla="*/ 2878240 h 3528490"/>
                  <a:gd name="connsiteX15" fmla="*/ 12290 w 2204430"/>
                  <a:gd name="connsiteY15" fmla="*/ 2037490 h 3528490"/>
                  <a:gd name="connsiteX16" fmla="*/ 0 w 2204430"/>
                  <a:gd name="connsiteY16" fmla="*/ 1821460 h 3528490"/>
                  <a:gd name="connsiteX17" fmla="*/ 30111 w 2204430"/>
                  <a:gd name="connsiteY17" fmla="*/ 717940 h 3528490"/>
                  <a:gd name="connsiteX18" fmla="*/ 5940 w 2204430"/>
                  <a:gd name="connsiteY18" fmla="*/ 1533420 h 3528490"/>
                  <a:gd name="connsiteX19" fmla="*/ 4028 w 2204430"/>
                  <a:gd name="connsiteY19" fmla="*/ 1605430 h 3528490"/>
                  <a:gd name="connsiteX20" fmla="*/ 30111 w 2204430"/>
                  <a:gd name="connsiteY20" fmla="*/ 717940 h 3528490"/>
                  <a:gd name="connsiteX0" fmla="*/ 136047 w 2310366"/>
                  <a:gd name="connsiteY0" fmla="*/ 717940 h 3528490"/>
                  <a:gd name="connsiteX1" fmla="*/ 928160 w 2310366"/>
                  <a:gd name="connsiteY1" fmla="*/ 717940 h 3528490"/>
                  <a:gd name="connsiteX2" fmla="*/ 1216199 w 2310366"/>
                  <a:gd name="connsiteY2" fmla="*/ 0 h 3528490"/>
                  <a:gd name="connsiteX3" fmla="*/ 1518258 w 2310366"/>
                  <a:gd name="connsiteY3" fmla="*/ 726242 h 3528490"/>
                  <a:gd name="connsiteX4" fmla="*/ 2296347 w 2310366"/>
                  <a:gd name="connsiteY4" fmla="*/ 717940 h 3528490"/>
                  <a:gd name="connsiteX5" fmla="*/ 2310366 w 2310366"/>
                  <a:gd name="connsiteY5" fmla="*/ 1438040 h 3528490"/>
                  <a:gd name="connsiteX6" fmla="*/ 2310366 w 2310366"/>
                  <a:gd name="connsiteY6" fmla="*/ 1510050 h 3528490"/>
                  <a:gd name="connsiteX7" fmla="*/ 1648255 w 2310366"/>
                  <a:gd name="connsiteY7" fmla="*/ 1798090 h 3528490"/>
                  <a:gd name="connsiteX8" fmla="*/ 2310366 w 2310366"/>
                  <a:gd name="connsiteY8" fmla="*/ 2086130 h 3528490"/>
                  <a:gd name="connsiteX9" fmla="*/ 2298272 w 2310366"/>
                  <a:gd name="connsiteY9" fmla="*/ 2878240 h 3528490"/>
                  <a:gd name="connsiteX10" fmla="*/ 2296347 w 2310366"/>
                  <a:gd name="connsiteY10" fmla="*/ 2878240 h 3528490"/>
                  <a:gd name="connsiteX11" fmla="*/ 1504235 w 2310366"/>
                  <a:gd name="connsiteY11" fmla="*/ 2878240 h 3528490"/>
                  <a:gd name="connsiteX12" fmla="*/ 1216195 w 2310366"/>
                  <a:gd name="connsiteY12" fmla="*/ 3526330 h 3528490"/>
                  <a:gd name="connsiteX13" fmla="*/ 928155 w 2310366"/>
                  <a:gd name="connsiteY13" fmla="*/ 2880790 h 3528490"/>
                  <a:gd name="connsiteX14" fmla="*/ 136047 w 2310366"/>
                  <a:gd name="connsiteY14" fmla="*/ 2878240 h 3528490"/>
                  <a:gd name="connsiteX15" fmla="*/ 118226 w 2310366"/>
                  <a:gd name="connsiteY15" fmla="*/ 2037490 h 3528490"/>
                  <a:gd name="connsiteX16" fmla="*/ 105936 w 2310366"/>
                  <a:gd name="connsiteY16" fmla="*/ 1821460 h 3528490"/>
                  <a:gd name="connsiteX17" fmla="*/ 136047 w 2310366"/>
                  <a:gd name="connsiteY17" fmla="*/ 717940 h 3528490"/>
                  <a:gd name="connsiteX18" fmla="*/ 111876 w 2310366"/>
                  <a:gd name="connsiteY18" fmla="*/ 1533420 h 3528490"/>
                  <a:gd name="connsiteX19" fmla="*/ 136047 w 2310366"/>
                  <a:gd name="connsiteY19" fmla="*/ 717940 h 3528490"/>
                  <a:gd name="connsiteX0" fmla="*/ 136047 w 2310366"/>
                  <a:gd name="connsiteY0" fmla="*/ 717940 h 3528490"/>
                  <a:gd name="connsiteX1" fmla="*/ 928160 w 2310366"/>
                  <a:gd name="connsiteY1" fmla="*/ 717940 h 3528490"/>
                  <a:gd name="connsiteX2" fmla="*/ 1216199 w 2310366"/>
                  <a:gd name="connsiteY2" fmla="*/ 0 h 3528490"/>
                  <a:gd name="connsiteX3" fmla="*/ 1518258 w 2310366"/>
                  <a:gd name="connsiteY3" fmla="*/ 726242 h 3528490"/>
                  <a:gd name="connsiteX4" fmla="*/ 2296347 w 2310366"/>
                  <a:gd name="connsiteY4" fmla="*/ 717940 h 3528490"/>
                  <a:gd name="connsiteX5" fmla="*/ 2310366 w 2310366"/>
                  <a:gd name="connsiteY5" fmla="*/ 1438040 h 3528490"/>
                  <a:gd name="connsiteX6" fmla="*/ 2310366 w 2310366"/>
                  <a:gd name="connsiteY6" fmla="*/ 1510050 h 3528490"/>
                  <a:gd name="connsiteX7" fmla="*/ 1648255 w 2310366"/>
                  <a:gd name="connsiteY7" fmla="*/ 1798090 h 3528490"/>
                  <a:gd name="connsiteX8" fmla="*/ 2310366 w 2310366"/>
                  <a:gd name="connsiteY8" fmla="*/ 2086130 h 3528490"/>
                  <a:gd name="connsiteX9" fmla="*/ 2298272 w 2310366"/>
                  <a:gd name="connsiteY9" fmla="*/ 2878240 h 3528490"/>
                  <a:gd name="connsiteX10" fmla="*/ 2296347 w 2310366"/>
                  <a:gd name="connsiteY10" fmla="*/ 2878240 h 3528490"/>
                  <a:gd name="connsiteX11" fmla="*/ 1504235 w 2310366"/>
                  <a:gd name="connsiteY11" fmla="*/ 2878240 h 3528490"/>
                  <a:gd name="connsiteX12" fmla="*/ 1216195 w 2310366"/>
                  <a:gd name="connsiteY12" fmla="*/ 3526330 h 3528490"/>
                  <a:gd name="connsiteX13" fmla="*/ 928155 w 2310366"/>
                  <a:gd name="connsiteY13" fmla="*/ 2880790 h 3528490"/>
                  <a:gd name="connsiteX14" fmla="*/ 136047 w 2310366"/>
                  <a:gd name="connsiteY14" fmla="*/ 2878240 h 3528490"/>
                  <a:gd name="connsiteX15" fmla="*/ 118226 w 2310366"/>
                  <a:gd name="connsiteY15" fmla="*/ 2037490 h 3528490"/>
                  <a:gd name="connsiteX16" fmla="*/ 136047 w 2310366"/>
                  <a:gd name="connsiteY16" fmla="*/ 717940 h 3528490"/>
                  <a:gd name="connsiteX17" fmla="*/ 111876 w 2310366"/>
                  <a:gd name="connsiteY17" fmla="*/ 1533420 h 3528490"/>
                  <a:gd name="connsiteX18" fmla="*/ 136047 w 2310366"/>
                  <a:gd name="connsiteY18"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03749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2699 w 2192140"/>
                  <a:gd name="connsiteY16" fmla="*/ 1557960 h 3528490"/>
                  <a:gd name="connsiteX17" fmla="*/ 17821 w 2192140"/>
                  <a:gd name="connsiteY17" fmla="*/ 717940 h 3528490"/>
                  <a:gd name="connsiteX18" fmla="*/ 17821 w 2192140"/>
                  <a:gd name="connsiteY18" fmla="*/ 717940 h 3528490"/>
                  <a:gd name="connsiteX0" fmla="*/ 549106 w 2723425"/>
                  <a:gd name="connsiteY0" fmla="*/ 717940 h 3528490"/>
                  <a:gd name="connsiteX1" fmla="*/ 1341219 w 2723425"/>
                  <a:gd name="connsiteY1" fmla="*/ 717940 h 3528490"/>
                  <a:gd name="connsiteX2" fmla="*/ 1629258 w 2723425"/>
                  <a:gd name="connsiteY2" fmla="*/ 0 h 3528490"/>
                  <a:gd name="connsiteX3" fmla="*/ 1931317 w 2723425"/>
                  <a:gd name="connsiteY3" fmla="*/ 726242 h 3528490"/>
                  <a:gd name="connsiteX4" fmla="*/ 2709406 w 2723425"/>
                  <a:gd name="connsiteY4" fmla="*/ 717940 h 3528490"/>
                  <a:gd name="connsiteX5" fmla="*/ 2723425 w 2723425"/>
                  <a:gd name="connsiteY5" fmla="*/ 1438040 h 3528490"/>
                  <a:gd name="connsiteX6" fmla="*/ 2723425 w 2723425"/>
                  <a:gd name="connsiteY6" fmla="*/ 1510050 h 3528490"/>
                  <a:gd name="connsiteX7" fmla="*/ 2061314 w 2723425"/>
                  <a:gd name="connsiteY7" fmla="*/ 1798090 h 3528490"/>
                  <a:gd name="connsiteX8" fmla="*/ 2723425 w 2723425"/>
                  <a:gd name="connsiteY8" fmla="*/ 2086130 h 3528490"/>
                  <a:gd name="connsiteX9" fmla="*/ 2711331 w 2723425"/>
                  <a:gd name="connsiteY9" fmla="*/ 2878240 h 3528490"/>
                  <a:gd name="connsiteX10" fmla="*/ 2709406 w 2723425"/>
                  <a:gd name="connsiteY10" fmla="*/ 2878240 h 3528490"/>
                  <a:gd name="connsiteX11" fmla="*/ 1917294 w 2723425"/>
                  <a:gd name="connsiteY11" fmla="*/ 2878240 h 3528490"/>
                  <a:gd name="connsiteX12" fmla="*/ 1629254 w 2723425"/>
                  <a:gd name="connsiteY12" fmla="*/ 3526330 h 3528490"/>
                  <a:gd name="connsiteX13" fmla="*/ 1341214 w 2723425"/>
                  <a:gd name="connsiteY13" fmla="*/ 2880790 h 3528490"/>
                  <a:gd name="connsiteX14" fmla="*/ 549106 w 2723425"/>
                  <a:gd name="connsiteY14" fmla="*/ 2878240 h 3528490"/>
                  <a:gd name="connsiteX15" fmla="*/ 531285 w 2723425"/>
                  <a:gd name="connsiteY15" fmla="*/ 2181510 h 3528490"/>
                  <a:gd name="connsiteX16" fmla="*/ 543984 w 2723425"/>
                  <a:gd name="connsiteY16" fmla="*/ 1557960 h 3528490"/>
                  <a:gd name="connsiteX17" fmla="*/ 549106 w 2723425"/>
                  <a:gd name="connsiteY17" fmla="*/ 717940 h 3528490"/>
                  <a:gd name="connsiteX18" fmla="*/ 549106 w 2723425"/>
                  <a:gd name="connsiteY18" fmla="*/ 717940 h 3528490"/>
                  <a:gd name="connsiteX0" fmla="*/ 232166 w 2406485"/>
                  <a:gd name="connsiteY0" fmla="*/ 717940 h 3528490"/>
                  <a:gd name="connsiteX1" fmla="*/ 1024279 w 2406485"/>
                  <a:gd name="connsiteY1" fmla="*/ 717940 h 3528490"/>
                  <a:gd name="connsiteX2" fmla="*/ 1312318 w 2406485"/>
                  <a:gd name="connsiteY2" fmla="*/ 0 h 3528490"/>
                  <a:gd name="connsiteX3" fmla="*/ 1614377 w 2406485"/>
                  <a:gd name="connsiteY3" fmla="*/ 726242 h 3528490"/>
                  <a:gd name="connsiteX4" fmla="*/ 2392466 w 2406485"/>
                  <a:gd name="connsiteY4" fmla="*/ 717940 h 3528490"/>
                  <a:gd name="connsiteX5" fmla="*/ 2406485 w 2406485"/>
                  <a:gd name="connsiteY5" fmla="*/ 1438040 h 3528490"/>
                  <a:gd name="connsiteX6" fmla="*/ 2406485 w 2406485"/>
                  <a:gd name="connsiteY6" fmla="*/ 1510050 h 3528490"/>
                  <a:gd name="connsiteX7" fmla="*/ 1744374 w 2406485"/>
                  <a:gd name="connsiteY7" fmla="*/ 1798090 h 3528490"/>
                  <a:gd name="connsiteX8" fmla="*/ 2406485 w 2406485"/>
                  <a:gd name="connsiteY8" fmla="*/ 2086130 h 3528490"/>
                  <a:gd name="connsiteX9" fmla="*/ 2394391 w 2406485"/>
                  <a:gd name="connsiteY9" fmla="*/ 2878240 h 3528490"/>
                  <a:gd name="connsiteX10" fmla="*/ 2392466 w 2406485"/>
                  <a:gd name="connsiteY10" fmla="*/ 2878240 h 3528490"/>
                  <a:gd name="connsiteX11" fmla="*/ 1600354 w 2406485"/>
                  <a:gd name="connsiteY11" fmla="*/ 2878240 h 3528490"/>
                  <a:gd name="connsiteX12" fmla="*/ 1312314 w 2406485"/>
                  <a:gd name="connsiteY12" fmla="*/ 3526330 h 3528490"/>
                  <a:gd name="connsiteX13" fmla="*/ 1024274 w 2406485"/>
                  <a:gd name="connsiteY13" fmla="*/ 2880790 h 3528490"/>
                  <a:gd name="connsiteX14" fmla="*/ 232166 w 2406485"/>
                  <a:gd name="connsiteY14" fmla="*/ 2878240 h 3528490"/>
                  <a:gd name="connsiteX15" fmla="*/ 214345 w 2406485"/>
                  <a:gd name="connsiteY15" fmla="*/ 2181510 h 3528490"/>
                  <a:gd name="connsiteX16" fmla="*/ 2116 w 2406485"/>
                  <a:gd name="connsiteY16" fmla="*/ 1821460 h 3528490"/>
                  <a:gd name="connsiteX17" fmla="*/ 227044 w 2406485"/>
                  <a:gd name="connsiteY17" fmla="*/ 1557960 h 3528490"/>
                  <a:gd name="connsiteX18" fmla="*/ 232166 w 2406485"/>
                  <a:gd name="connsiteY18" fmla="*/ 717940 h 3528490"/>
                  <a:gd name="connsiteX19" fmla="*/ 232166 w 2406485"/>
                  <a:gd name="connsiteY19" fmla="*/ 717940 h 3528490"/>
                  <a:gd name="connsiteX0" fmla="*/ 650389 w 2824708"/>
                  <a:gd name="connsiteY0" fmla="*/ 717940 h 3528490"/>
                  <a:gd name="connsiteX1" fmla="*/ 1442502 w 2824708"/>
                  <a:gd name="connsiteY1" fmla="*/ 717940 h 3528490"/>
                  <a:gd name="connsiteX2" fmla="*/ 1730541 w 2824708"/>
                  <a:gd name="connsiteY2" fmla="*/ 0 h 3528490"/>
                  <a:gd name="connsiteX3" fmla="*/ 2032600 w 2824708"/>
                  <a:gd name="connsiteY3" fmla="*/ 726242 h 3528490"/>
                  <a:gd name="connsiteX4" fmla="*/ 2810689 w 2824708"/>
                  <a:gd name="connsiteY4" fmla="*/ 717940 h 3528490"/>
                  <a:gd name="connsiteX5" fmla="*/ 2824708 w 2824708"/>
                  <a:gd name="connsiteY5" fmla="*/ 1438040 h 3528490"/>
                  <a:gd name="connsiteX6" fmla="*/ 2824708 w 2824708"/>
                  <a:gd name="connsiteY6" fmla="*/ 1510050 h 3528490"/>
                  <a:gd name="connsiteX7" fmla="*/ 2162597 w 2824708"/>
                  <a:gd name="connsiteY7" fmla="*/ 1798090 h 3528490"/>
                  <a:gd name="connsiteX8" fmla="*/ 2824708 w 2824708"/>
                  <a:gd name="connsiteY8" fmla="*/ 2086130 h 3528490"/>
                  <a:gd name="connsiteX9" fmla="*/ 2812614 w 2824708"/>
                  <a:gd name="connsiteY9" fmla="*/ 2878240 h 3528490"/>
                  <a:gd name="connsiteX10" fmla="*/ 2810689 w 2824708"/>
                  <a:gd name="connsiteY10" fmla="*/ 2878240 h 3528490"/>
                  <a:gd name="connsiteX11" fmla="*/ 2018577 w 2824708"/>
                  <a:gd name="connsiteY11" fmla="*/ 2878240 h 3528490"/>
                  <a:gd name="connsiteX12" fmla="*/ 1730537 w 2824708"/>
                  <a:gd name="connsiteY12" fmla="*/ 3526330 h 3528490"/>
                  <a:gd name="connsiteX13" fmla="*/ 1442497 w 2824708"/>
                  <a:gd name="connsiteY13" fmla="*/ 2880790 h 3528490"/>
                  <a:gd name="connsiteX14" fmla="*/ 650389 w 2824708"/>
                  <a:gd name="connsiteY14" fmla="*/ 2878240 h 3528490"/>
                  <a:gd name="connsiteX15" fmla="*/ 632568 w 2824708"/>
                  <a:gd name="connsiteY15" fmla="*/ 2181510 h 3528490"/>
                  <a:gd name="connsiteX16" fmla="*/ 2116 w 2824708"/>
                  <a:gd name="connsiteY16" fmla="*/ 1821460 h 3528490"/>
                  <a:gd name="connsiteX17" fmla="*/ 645267 w 2824708"/>
                  <a:gd name="connsiteY17" fmla="*/ 1557960 h 3528490"/>
                  <a:gd name="connsiteX18" fmla="*/ 650389 w 2824708"/>
                  <a:gd name="connsiteY18" fmla="*/ 717940 h 3528490"/>
                  <a:gd name="connsiteX19" fmla="*/ 650389 w 2824708"/>
                  <a:gd name="connsiteY19" fmla="*/ 717940 h 3528490"/>
                  <a:gd name="connsiteX0" fmla="*/ 649127 w 2823446"/>
                  <a:gd name="connsiteY0" fmla="*/ 717940 h 3528490"/>
                  <a:gd name="connsiteX1" fmla="*/ 1441240 w 2823446"/>
                  <a:gd name="connsiteY1" fmla="*/ 717940 h 3528490"/>
                  <a:gd name="connsiteX2" fmla="*/ 1729279 w 2823446"/>
                  <a:gd name="connsiteY2" fmla="*/ 0 h 3528490"/>
                  <a:gd name="connsiteX3" fmla="*/ 2031338 w 2823446"/>
                  <a:gd name="connsiteY3" fmla="*/ 726242 h 3528490"/>
                  <a:gd name="connsiteX4" fmla="*/ 2809427 w 2823446"/>
                  <a:gd name="connsiteY4" fmla="*/ 717940 h 3528490"/>
                  <a:gd name="connsiteX5" fmla="*/ 2823446 w 2823446"/>
                  <a:gd name="connsiteY5" fmla="*/ 1438040 h 3528490"/>
                  <a:gd name="connsiteX6" fmla="*/ 2823446 w 2823446"/>
                  <a:gd name="connsiteY6" fmla="*/ 1510050 h 3528490"/>
                  <a:gd name="connsiteX7" fmla="*/ 2161335 w 2823446"/>
                  <a:gd name="connsiteY7" fmla="*/ 1798090 h 3528490"/>
                  <a:gd name="connsiteX8" fmla="*/ 2823446 w 2823446"/>
                  <a:gd name="connsiteY8" fmla="*/ 2086130 h 3528490"/>
                  <a:gd name="connsiteX9" fmla="*/ 2811352 w 2823446"/>
                  <a:gd name="connsiteY9" fmla="*/ 2878240 h 3528490"/>
                  <a:gd name="connsiteX10" fmla="*/ 2809427 w 2823446"/>
                  <a:gd name="connsiteY10" fmla="*/ 2878240 h 3528490"/>
                  <a:gd name="connsiteX11" fmla="*/ 2017315 w 2823446"/>
                  <a:gd name="connsiteY11" fmla="*/ 2878240 h 3528490"/>
                  <a:gd name="connsiteX12" fmla="*/ 1729275 w 2823446"/>
                  <a:gd name="connsiteY12" fmla="*/ 3526330 h 3528490"/>
                  <a:gd name="connsiteX13" fmla="*/ 1441235 w 2823446"/>
                  <a:gd name="connsiteY13" fmla="*/ 2880790 h 3528490"/>
                  <a:gd name="connsiteX14" fmla="*/ 649127 w 2823446"/>
                  <a:gd name="connsiteY14" fmla="*/ 2878240 h 3528490"/>
                  <a:gd name="connsiteX15" fmla="*/ 649126 w 2823446"/>
                  <a:gd name="connsiteY15" fmla="*/ 2109500 h 3528490"/>
                  <a:gd name="connsiteX16" fmla="*/ 854 w 2823446"/>
                  <a:gd name="connsiteY16" fmla="*/ 1821460 h 3528490"/>
                  <a:gd name="connsiteX17" fmla="*/ 644005 w 2823446"/>
                  <a:gd name="connsiteY17" fmla="*/ 1557960 h 3528490"/>
                  <a:gd name="connsiteX18" fmla="*/ 649127 w 2823446"/>
                  <a:gd name="connsiteY18" fmla="*/ 717940 h 3528490"/>
                  <a:gd name="connsiteX19" fmla="*/ 649127 w 2823446"/>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3151 w 2822592"/>
                  <a:gd name="connsiteY17" fmla="*/ 155796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3151 w 2822592"/>
                  <a:gd name="connsiteY17" fmla="*/ 155796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3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3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75582"/>
                  <a:gd name="connsiteY0" fmla="*/ 717940 h 3528490"/>
                  <a:gd name="connsiteX1" fmla="*/ 1440386 w 3475582"/>
                  <a:gd name="connsiteY1" fmla="*/ 717940 h 3528490"/>
                  <a:gd name="connsiteX2" fmla="*/ 1728425 w 3475582"/>
                  <a:gd name="connsiteY2" fmla="*/ 0 h 3528490"/>
                  <a:gd name="connsiteX3" fmla="*/ 2030484 w 3475582"/>
                  <a:gd name="connsiteY3" fmla="*/ 726242 h 3528490"/>
                  <a:gd name="connsiteX4" fmla="*/ 2808573 w 3475582"/>
                  <a:gd name="connsiteY4" fmla="*/ 717940 h 3528490"/>
                  <a:gd name="connsiteX5" fmla="*/ 2822592 w 3475582"/>
                  <a:gd name="connsiteY5" fmla="*/ 1438040 h 3528490"/>
                  <a:gd name="connsiteX6" fmla="*/ 2822592 w 3475582"/>
                  <a:gd name="connsiteY6" fmla="*/ 1510050 h 3528490"/>
                  <a:gd name="connsiteX7" fmla="*/ 3418258 w 3475582"/>
                  <a:gd name="connsiteY7" fmla="*/ 1821462 h 3528490"/>
                  <a:gd name="connsiteX8" fmla="*/ 2822592 w 3475582"/>
                  <a:gd name="connsiteY8" fmla="*/ 2086130 h 3528490"/>
                  <a:gd name="connsiteX9" fmla="*/ 2810498 w 3475582"/>
                  <a:gd name="connsiteY9" fmla="*/ 2878240 h 3528490"/>
                  <a:gd name="connsiteX10" fmla="*/ 2808573 w 3475582"/>
                  <a:gd name="connsiteY10" fmla="*/ 2878240 h 3528490"/>
                  <a:gd name="connsiteX11" fmla="*/ 2016461 w 3475582"/>
                  <a:gd name="connsiteY11" fmla="*/ 2878240 h 3528490"/>
                  <a:gd name="connsiteX12" fmla="*/ 1728421 w 3475582"/>
                  <a:gd name="connsiteY12" fmla="*/ 3526330 h 3528490"/>
                  <a:gd name="connsiteX13" fmla="*/ 1440381 w 3475582"/>
                  <a:gd name="connsiteY13" fmla="*/ 2880790 h 3528490"/>
                  <a:gd name="connsiteX14" fmla="*/ 648273 w 3475582"/>
                  <a:gd name="connsiteY14" fmla="*/ 2878240 h 3528490"/>
                  <a:gd name="connsiteX15" fmla="*/ 648273 w 3475582"/>
                  <a:gd name="connsiteY15" fmla="*/ 2109500 h 3528490"/>
                  <a:gd name="connsiteX16" fmla="*/ 0 w 3475582"/>
                  <a:gd name="connsiteY16" fmla="*/ 1821460 h 3528490"/>
                  <a:gd name="connsiteX17" fmla="*/ 648272 w 3475582"/>
                  <a:gd name="connsiteY17" fmla="*/ 1533420 h 3528490"/>
                  <a:gd name="connsiteX18" fmla="*/ 648273 w 3475582"/>
                  <a:gd name="connsiteY18" fmla="*/ 717940 h 3528490"/>
                  <a:gd name="connsiteX19" fmla="*/ 648273 w 3475582"/>
                  <a:gd name="connsiteY19" fmla="*/ 717940 h 3528490"/>
                  <a:gd name="connsiteX0" fmla="*/ 648273 w 3532906"/>
                  <a:gd name="connsiteY0" fmla="*/ 717940 h 3528490"/>
                  <a:gd name="connsiteX1" fmla="*/ 1440386 w 3532906"/>
                  <a:gd name="connsiteY1" fmla="*/ 717940 h 3528490"/>
                  <a:gd name="connsiteX2" fmla="*/ 1728425 w 3532906"/>
                  <a:gd name="connsiteY2" fmla="*/ 0 h 3528490"/>
                  <a:gd name="connsiteX3" fmla="*/ 2030484 w 3532906"/>
                  <a:gd name="connsiteY3" fmla="*/ 726242 h 3528490"/>
                  <a:gd name="connsiteX4" fmla="*/ 2808573 w 3532906"/>
                  <a:gd name="connsiteY4" fmla="*/ 717940 h 3528490"/>
                  <a:gd name="connsiteX5" fmla="*/ 2822592 w 3532906"/>
                  <a:gd name="connsiteY5" fmla="*/ 1438040 h 3528490"/>
                  <a:gd name="connsiteX6" fmla="*/ 2822592 w 3532906"/>
                  <a:gd name="connsiteY6" fmla="*/ 1510050 h 3528490"/>
                  <a:gd name="connsiteX7" fmla="*/ 3475582 w 3532906"/>
                  <a:gd name="connsiteY7" fmla="*/ 1821462 h 3528490"/>
                  <a:gd name="connsiteX8" fmla="*/ 2822592 w 3532906"/>
                  <a:gd name="connsiteY8" fmla="*/ 2086130 h 3528490"/>
                  <a:gd name="connsiteX9" fmla="*/ 2810498 w 3532906"/>
                  <a:gd name="connsiteY9" fmla="*/ 2878240 h 3528490"/>
                  <a:gd name="connsiteX10" fmla="*/ 2808573 w 3532906"/>
                  <a:gd name="connsiteY10" fmla="*/ 2878240 h 3528490"/>
                  <a:gd name="connsiteX11" fmla="*/ 2016461 w 3532906"/>
                  <a:gd name="connsiteY11" fmla="*/ 2878240 h 3528490"/>
                  <a:gd name="connsiteX12" fmla="*/ 1728421 w 3532906"/>
                  <a:gd name="connsiteY12" fmla="*/ 3526330 h 3528490"/>
                  <a:gd name="connsiteX13" fmla="*/ 1440381 w 3532906"/>
                  <a:gd name="connsiteY13" fmla="*/ 2880790 h 3528490"/>
                  <a:gd name="connsiteX14" fmla="*/ 648273 w 3532906"/>
                  <a:gd name="connsiteY14" fmla="*/ 2878240 h 3528490"/>
                  <a:gd name="connsiteX15" fmla="*/ 648273 w 3532906"/>
                  <a:gd name="connsiteY15" fmla="*/ 2109500 h 3528490"/>
                  <a:gd name="connsiteX16" fmla="*/ 0 w 3532906"/>
                  <a:gd name="connsiteY16" fmla="*/ 1821460 h 3528490"/>
                  <a:gd name="connsiteX17" fmla="*/ 648272 w 3532906"/>
                  <a:gd name="connsiteY17" fmla="*/ 1533420 h 3528490"/>
                  <a:gd name="connsiteX18" fmla="*/ 648273 w 3532906"/>
                  <a:gd name="connsiteY18" fmla="*/ 717940 h 3528490"/>
                  <a:gd name="connsiteX19" fmla="*/ 648273 w 3532906"/>
                  <a:gd name="connsiteY19" fmla="*/ 717940 h 3528490"/>
                  <a:gd name="connsiteX0" fmla="*/ 648273 w 3518925"/>
                  <a:gd name="connsiteY0" fmla="*/ 717940 h 3528490"/>
                  <a:gd name="connsiteX1" fmla="*/ 1440386 w 3518925"/>
                  <a:gd name="connsiteY1" fmla="*/ 717940 h 3528490"/>
                  <a:gd name="connsiteX2" fmla="*/ 1728425 w 3518925"/>
                  <a:gd name="connsiteY2" fmla="*/ 0 h 3528490"/>
                  <a:gd name="connsiteX3" fmla="*/ 2030484 w 3518925"/>
                  <a:gd name="connsiteY3" fmla="*/ 726242 h 3528490"/>
                  <a:gd name="connsiteX4" fmla="*/ 2808573 w 3518925"/>
                  <a:gd name="connsiteY4" fmla="*/ 717940 h 3528490"/>
                  <a:gd name="connsiteX5" fmla="*/ 2822592 w 3518925"/>
                  <a:gd name="connsiteY5" fmla="*/ 1438040 h 3528490"/>
                  <a:gd name="connsiteX6" fmla="*/ 2822592 w 3518925"/>
                  <a:gd name="connsiteY6" fmla="*/ 1510050 h 3528490"/>
                  <a:gd name="connsiteX7" fmla="*/ 3475582 w 3518925"/>
                  <a:gd name="connsiteY7" fmla="*/ 1821462 h 3528490"/>
                  <a:gd name="connsiteX8" fmla="*/ 2822592 w 3518925"/>
                  <a:gd name="connsiteY8" fmla="*/ 2086130 h 3528490"/>
                  <a:gd name="connsiteX9" fmla="*/ 2810498 w 3518925"/>
                  <a:gd name="connsiteY9" fmla="*/ 2878240 h 3528490"/>
                  <a:gd name="connsiteX10" fmla="*/ 2808573 w 3518925"/>
                  <a:gd name="connsiteY10" fmla="*/ 2878240 h 3528490"/>
                  <a:gd name="connsiteX11" fmla="*/ 2016461 w 3518925"/>
                  <a:gd name="connsiteY11" fmla="*/ 2878240 h 3528490"/>
                  <a:gd name="connsiteX12" fmla="*/ 1728421 w 3518925"/>
                  <a:gd name="connsiteY12" fmla="*/ 3526330 h 3528490"/>
                  <a:gd name="connsiteX13" fmla="*/ 1440381 w 3518925"/>
                  <a:gd name="connsiteY13" fmla="*/ 2880790 h 3528490"/>
                  <a:gd name="connsiteX14" fmla="*/ 648273 w 3518925"/>
                  <a:gd name="connsiteY14" fmla="*/ 2878240 h 3528490"/>
                  <a:gd name="connsiteX15" fmla="*/ 648273 w 3518925"/>
                  <a:gd name="connsiteY15" fmla="*/ 2109500 h 3528490"/>
                  <a:gd name="connsiteX16" fmla="*/ 0 w 3518925"/>
                  <a:gd name="connsiteY16" fmla="*/ 1821460 h 3528490"/>
                  <a:gd name="connsiteX17" fmla="*/ 648272 w 3518925"/>
                  <a:gd name="connsiteY17" fmla="*/ 1533420 h 3528490"/>
                  <a:gd name="connsiteX18" fmla="*/ 648273 w 3518925"/>
                  <a:gd name="connsiteY18" fmla="*/ 717940 h 3528490"/>
                  <a:gd name="connsiteX19" fmla="*/ 648273 w 3518925"/>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2880789"/>
                  <a:gd name="connsiteX1" fmla="*/ 1440386 w 3480809"/>
                  <a:gd name="connsiteY1" fmla="*/ 717940 h 2880789"/>
                  <a:gd name="connsiteX2" fmla="*/ 1728425 w 3480809"/>
                  <a:gd name="connsiteY2" fmla="*/ 0 h 2880789"/>
                  <a:gd name="connsiteX3" fmla="*/ 2030484 w 3480809"/>
                  <a:gd name="connsiteY3" fmla="*/ 726242 h 2880789"/>
                  <a:gd name="connsiteX4" fmla="*/ 2808573 w 3480809"/>
                  <a:gd name="connsiteY4" fmla="*/ 717940 h 2880789"/>
                  <a:gd name="connsiteX5" fmla="*/ 2822592 w 3480809"/>
                  <a:gd name="connsiteY5" fmla="*/ 1438040 h 2880789"/>
                  <a:gd name="connsiteX6" fmla="*/ 2822592 w 3480809"/>
                  <a:gd name="connsiteY6" fmla="*/ 1510050 h 2880789"/>
                  <a:gd name="connsiteX7" fmla="*/ 3475582 w 3480809"/>
                  <a:gd name="connsiteY7" fmla="*/ 1821462 h 2880789"/>
                  <a:gd name="connsiteX8" fmla="*/ 2822592 w 3480809"/>
                  <a:gd name="connsiteY8" fmla="*/ 2086130 h 2880789"/>
                  <a:gd name="connsiteX9" fmla="*/ 2810498 w 3480809"/>
                  <a:gd name="connsiteY9" fmla="*/ 2878240 h 2880789"/>
                  <a:gd name="connsiteX10" fmla="*/ 2808573 w 3480809"/>
                  <a:gd name="connsiteY10" fmla="*/ 2878240 h 2880789"/>
                  <a:gd name="connsiteX11" fmla="*/ 2016461 w 3480809"/>
                  <a:gd name="connsiteY11" fmla="*/ 2878240 h 2880789"/>
                  <a:gd name="connsiteX12" fmla="*/ 1440381 w 3480809"/>
                  <a:gd name="connsiteY12" fmla="*/ 2880790 h 2880789"/>
                  <a:gd name="connsiteX13" fmla="*/ 648273 w 3480809"/>
                  <a:gd name="connsiteY13" fmla="*/ 2878240 h 2880789"/>
                  <a:gd name="connsiteX14" fmla="*/ 648273 w 3480809"/>
                  <a:gd name="connsiteY14" fmla="*/ 2109500 h 2880789"/>
                  <a:gd name="connsiteX15" fmla="*/ 0 w 3480809"/>
                  <a:gd name="connsiteY15" fmla="*/ 1821460 h 2880789"/>
                  <a:gd name="connsiteX16" fmla="*/ 648272 w 3480809"/>
                  <a:gd name="connsiteY16" fmla="*/ 1533420 h 2880789"/>
                  <a:gd name="connsiteX17" fmla="*/ 648273 w 3480809"/>
                  <a:gd name="connsiteY17" fmla="*/ 717940 h 2880789"/>
                  <a:gd name="connsiteX18" fmla="*/ 648273 w 3480809"/>
                  <a:gd name="connsiteY18" fmla="*/ 717940 h 288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80809" h="2880789">
                    <a:moveTo>
                      <a:pt x="648273" y="717940"/>
                    </a:moveTo>
                    <a:lnTo>
                      <a:pt x="1440386" y="717940"/>
                    </a:lnTo>
                    <a:cubicBezTo>
                      <a:pt x="1541636" y="632383"/>
                      <a:pt x="1069920" y="35191"/>
                      <a:pt x="1728425" y="0"/>
                    </a:cubicBezTo>
                    <a:cubicBezTo>
                      <a:pt x="2317159" y="80045"/>
                      <a:pt x="2056629" y="469512"/>
                      <a:pt x="2030484" y="726242"/>
                    </a:cubicBezTo>
                    <a:lnTo>
                      <a:pt x="2808573" y="717940"/>
                    </a:lnTo>
                    <a:lnTo>
                      <a:pt x="2822592" y="1438040"/>
                    </a:lnTo>
                    <a:lnTo>
                      <a:pt x="2822592" y="1510050"/>
                    </a:lnTo>
                    <a:cubicBezTo>
                      <a:pt x="2820319" y="1684145"/>
                      <a:pt x="3478431" y="1144330"/>
                      <a:pt x="3475582" y="1821462"/>
                    </a:cubicBezTo>
                    <a:cubicBezTo>
                      <a:pt x="3480809" y="2438159"/>
                      <a:pt x="2825231" y="2071855"/>
                      <a:pt x="2822592" y="2086130"/>
                    </a:cubicBezTo>
                    <a:cubicBezTo>
                      <a:pt x="2822340" y="2381300"/>
                      <a:pt x="2814529" y="2590200"/>
                      <a:pt x="2810498" y="2878240"/>
                    </a:cubicBezTo>
                    <a:cubicBezTo>
                      <a:pt x="2810497" y="2870497"/>
                      <a:pt x="2822592" y="2052696"/>
                      <a:pt x="2808573" y="2878240"/>
                    </a:cubicBezTo>
                    <a:lnTo>
                      <a:pt x="2016461" y="2878240"/>
                    </a:lnTo>
                    <a:lnTo>
                      <a:pt x="1440381" y="2880790"/>
                    </a:lnTo>
                    <a:lnTo>
                      <a:pt x="648273" y="2878240"/>
                    </a:lnTo>
                    <a:lnTo>
                      <a:pt x="648273" y="2109500"/>
                    </a:lnTo>
                    <a:cubicBezTo>
                      <a:pt x="544933" y="1987817"/>
                      <a:pt x="21707" y="2471063"/>
                      <a:pt x="0" y="1821460"/>
                    </a:cubicBezTo>
                    <a:cubicBezTo>
                      <a:pt x="27202" y="1137997"/>
                      <a:pt x="607202" y="1722107"/>
                      <a:pt x="648272" y="1533420"/>
                    </a:cubicBezTo>
                    <a:cubicBezTo>
                      <a:pt x="649979" y="1253413"/>
                      <a:pt x="646566" y="997947"/>
                      <a:pt x="648273" y="717940"/>
                    </a:cubicBezTo>
                    <a:lnTo>
                      <a:pt x="648273" y="717940"/>
                    </a:lnTo>
                    <a:close/>
                  </a:path>
                </a:pathLst>
              </a:cu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84" name="Freihandform 83"/>
              <p:cNvSpPr/>
              <p:nvPr/>
            </p:nvSpPr>
            <p:spPr>
              <a:xfrm rot="10800000">
                <a:off x="3984173" y="3787583"/>
                <a:ext cx="1138179" cy="1225593"/>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1 h 2810549"/>
                  <a:gd name="connsiteX1" fmla="*/ 792113 w 2174319"/>
                  <a:gd name="connsiteY1" fmla="*/ -1 h 2810549"/>
                  <a:gd name="connsiteX2" fmla="*/ 1382211 w 2174319"/>
                  <a:gd name="connsiteY2" fmla="*/ 8301 h 2810549"/>
                  <a:gd name="connsiteX3" fmla="*/ 2160300 w 2174319"/>
                  <a:gd name="connsiteY3" fmla="*/ -1 h 2810549"/>
                  <a:gd name="connsiteX4" fmla="*/ 2174319 w 2174319"/>
                  <a:gd name="connsiteY4" fmla="*/ 720099 h 2810549"/>
                  <a:gd name="connsiteX5" fmla="*/ 2174319 w 2174319"/>
                  <a:gd name="connsiteY5" fmla="*/ 792109 h 2810549"/>
                  <a:gd name="connsiteX6" fmla="*/ 1512208 w 2174319"/>
                  <a:gd name="connsiteY6" fmla="*/ 1080149 h 2810549"/>
                  <a:gd name="connsiteX7" fmla="*/ 2174319 w 2174319"/>
                  <a:gd name="connsiteY7" fmla="*/ 1368189 h 2810549"/>
                  <a:gd name="connsiteX8" fmla="*/ 2162225 w 2174319"/>
                  <a:gd name="connsiteY8" fmla="*/ 2160299 h 2810549"/>
                  <a:gd name="connsiteX9" fmla="*/ 2160300 w 2174319"/>
                  <a:gd name="connsiteY9" fmla="*/ 2160299 h 2810549"/>
                  <a:gd name="connsiteX10" fmla="*/ 1368188 w 2174319"/>
                  <a:gd name="connsiteY10" fmla="*/ 2160299 h 2810549"/>
                  <a:gd name="connsiteX11" fmla="*/ 1080148 w 2174319"/>
                  <a:gd name="connsiteY11" fmla="*/ 2808389 h 2810549"/>
                  <a:gd name="connsiteX12" fmla="*/ 792108 w 2174319"/>
                  <a:gd name="connsiteY12" fmla="*/ 2162849 h 2810549"/>
                  <a:gd name="connsiteX13" fmla="*/ 0 w 2174319"/>
                  <a:gd name="connsiteY13" fmla="*/ 2160299 h 2810549"/>
                  <a:gd name="connsiteX14" fmla="*/ 0 w 2174319"/>
                  <a:gd name="connsiteY14" fmla="*/ -1 h 281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74319" h="2810549">
                    <a:moveTo>
                      <a:pt x="0" y="-1"/>
                    </a:moveTo>
                    <a:lnTo>
                      <a:pt x="792113" y="-1"/>
                    </a:lnTo>
                    <a:lnTo>
                      <a:pt x="1382211" y="8301"/>
                    </a:lnTo>
                    <a:lnTo>
                      <a:pt x="2160300" y="-1"/>
                    </a:lnTo>
                    <a:lnTo>
                      <a:pt x="2174319" y="720099"/>
                    </a:lnTo>
                    <a:lnTo>
                      <a:pt x="2174319" y="792109"/>
                    </a:lnTo>
                    <a:cubicBezTo>
                      <a:pt x="2067113" y="984125"/>
                      <a:pt x="1555551" y="424033"/>
                      <a:pt x="1512208" y="1080149"/>
                    </a:cubicBezTo>
                    <a:cubicBezTo>
                      <a:pt x="1569532" y="1704355"/>
                      <a:pt x="2015314" y="1283224"/>
                      <a:pt x="2174319" y="1368189"/>
                    </a:cubicBezTo>
                    <a:cubicBezTo>
                      <a:pt x="2174067" y="1663359"/>
                      <a:pt x="2166256" y="1872259"/>
                      <a:pt x="2162225" y="2160299"/>
                    </a:cubicBezTo>
                    <a:cubicBezTo>
                      <a:pt x="2162224" y="2152556"/>
                      <a:pt x="2174319" y="1334755"/>
                      <a:pt x="2160300" y="2160299"/>
                    </a:cubicBezTo>
                    <a:lnTo>
                      <a:pt x="1368188" y="2160299"/>
                    </a:lnTo>
                    <a:cubicBezTo>
                      <a:pt x="1267741" y="2160299"/>
                      <a:pt x="1696945" y="2810549"/>
                      <a:pt x="1080148" y="2808389"/>
                    </a:cubicBezTo>
                    <a:cubicBezTo>
                      <a:pt x="458508" y="2808389"/>
                      <a:pt x="883688" y="2162849"/>
                      <a:pt x="792108" y="2162849"/>
                    </a:cubicBezTo>
                    <a:lnTo>
                      <a:pt x="0" y="2160299"/>
                    </a:lnTo>
                    <a:lnTo>
                      <a:pt x="0" y="-1"/>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85" name="Freihandform 84"/>
              <p:cNvSpPr/>
              <p:nvPr/>
            </p:nvSpPr>
            <p:spPr>
              <a:xfrm rot="16200000">
                <a:off x="2634732" y="3605646"/>
                <a:ext cx="879800" cy="1838203"/>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4319" h="3528490">
                    <a:moveTo>
                      <a:pt x="0" y="717940"/>
                    </a:moveTo>
                    <a:lnTo>
                      <a:pt x="792113" y="717940"/>
                    </a:lnTo>
                    <a:cubicBezTo>
                      <a:pt x="893363" y="632383"/>
                      <a:pt x="421647" y="35191"/>
                      <a:pt x="1080152" y="0"/>
                    </a:cubicBezTo>
                    <a:cubicBezTo>
                      <a:pt x="1668886" y="80045"/>
                      <a:pt x="1276924" y="516202"/>
                      <a:pt x="1382211" y="726242"/>
                    </a:cubicBezTo>
                    <a:lnTo>
                      <a:pt x="2160300" y="717940"/>
                    </a:lnTo>
                    <a:lnTo>
                      <a:pt x="2174319" y="1438040"/>
                    </a:lnTo>
                    <a:lnTo>
                      <a:pt x="2174319" y="1510050"/>
                    </a:lnTo>
                    <a:cubicBezTo>
                      <a:pt x="2067113" y="1702066"/>
                      <a:pt x="1555551" y="1141974"/>
                      <a:pt x="1512208" y="1798090"/>
                    </a:cubicBezTo>
                    <a:cubicBezTo>
                      <a:pt x="1569532" y="2422296"/>
                      <a:pt x="2015314" y="2001165"/>
                      <a:pt x="2174319" y="2086130"/>
                    </a:cubicBezTo>
                    <a:cubicBezTo>
                      <a:pt x="2174067" y="2381300"/>
                      <a:pt x="2166256" y="2590200"/>
                      <a:pt x="2162225" y="2878240"/>
                    </a:cubicBezTo>
                    <a:cubicBezTo>
                      <a:pt x="2162224" y="2870497"/>
                      <a:pt x="2174319" y="2052696"/>
                      <a:pt x="2160300" y="2878240"/>
                    </a:cubicBezTo>
                    <a:lnTo>
                      <a:pt x="1368188" y="2878240"/>
                    </a:lnTo>
                    <a:cubicBezTo>
                      <a:pt x="1267741" y="2878240"/>
                      <a:pt x="1696945" y="3528490"/>
                      <a:pt x="1080148" y="3526330"/>
                    </a:cubicBezTo>
                    <a:cubicBezTo>
                      <a:pt x="458508" y="3526330"/>
                      <a:pt x="883688" y="2880790"/>
                      <a:pt x="792108" y="2880790"/>
                    </a:cubicBezTo>
                    <a:lnTo>
                      <a:pt x="0" y="2878240"/>
                    </a:lnTo>
                    <a:lnTo>
                      <a:pt x="0" y="717940"/>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86" name="Freihandform 85"/>
              <p:cNvSpPr/>
              <p:nvPr/>
            </p:nvSpPr>
            <p:spPr>
              <a:xfrm rot="5400000">
                <a:off x="4283893" y="2037353"/>
                <a:ext cx="879697" cy="1464883"/>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2415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4319" h="2816656">
                    <a:moveTo>
                      <a:pt x="0" y="653806"/>
                    </a:moveTo>
                    <a:lnTo>
                      <a:pt x="792113" y="653806"/>
                    </a:lnTo>
                    <a:cubicBezTo>
                      <a:pt x="954905" y="469129"/>
                      <a:pt x="434186" y="71335"/>
                      <a:pt x="1094168" y="0"/>
                    </a:cubicBezTo>
                    <a:cubicBezTo>
                      <a:pt x="1693169" y="26685"/>
                      <a:pt x="1338621" y="422718"/>
                      <a:pt x="1382211" y="662108"/>
                    </a:cubicBezTo>
                    <a:lnTo>
                      <a:pt x="2160300" y="653806"/>
                    </a:lnTo>
                    <a:lnTo>
                      <a:pt x="2174319" y="1373906"/>
                    </a:lnTo>
                    <a:lnTo>
                      <a:pt x="2174319" y="1445916"/>
                    </a:lnTo>
                    <a:cubicBezTo>
                      <a:pt x="2067113" y="1637932"/>
                      <a:pt x="1555551" y="1077840"/>
                      <a:pt x="1512208" y="1733956"/>
                    </a:cubicBezTo>
                    <a:cubicBezTo>
                      <a:pt x="1569532" y="2358162"/>
                      <a:pt x="2015314" y="1937031"/>
                      <a:pt x="2174319" y="2021996"/>
                    </a:cubicBezTo>
                    <a:cubicBezTo>
                      <a:pt x="2174067" y="2317166"/>
                      <a:pt x="2166256" y="2526066"/>
                      <a:pt x="2162225" y="2814106"/>
                    </a:cubicBezTo>
                    <a:cubicBezTo>
                      <a:pt x="2162224" y="2806363"/>
                      <a:pt x="2174319" y="1988562"/>
                      <a:pt x="2160300" y="2814106"/>
                    </a:cubicBezTo>
                    <a:lnTo>
                      <a:pt x="1368188" y="2814106"/>
                    </a:lnTo>
                    <a:cubicBezTo>
                      <a:pt x="1267741" y="2814106"/>
                      <a:pt x="1619368" y="2109691"/>
                      <a:pt x="1080152" y="2096167"/>
                    </a:cubicBezTo>
                    <a:cubicBezTo>
                      <a:pt x="514431" y="2065071"/>
                      <a:pt x="883688" y="2816656"/>
                      <a:pt x="792108" y="2816656"/>
                    </a:cubicBezTo>
                    <a:lnTo>
                      <a:pt x="0" y="2814106"/>
                    </a:lnTo>
                    <a:lnTo>
                      <a:pt x="0" y="653806"/>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grpSp>
            <p:nvGrpSpPr>
              <p:cNvPr id="87" name="Gruppieren 215"/>
              <p:cNvGrpSpPr/>
              <p:nvPr/>
            </p:nvGrpSpPr>
            <p:grpSpPr>
              <a:xfrm>
                <a:off x="3867301" y="2330100"/>
                <a:ext cx="3859995" cy="2668649"/>
                <a:chOff x="108821" y="66171"/>
                <a:chExt cx="7265267" cy="6514768"/>
              </a:xfrm>
            </p:grpSpPr>
            <p:grpSp>
              <p:nvGrpSpPr>
                <p:cNvPr id="113" name="Gruppieren 191"/>
                <p:cNvGrpSpPr/>
                <p:nvPr/>
              </p:nvGrpSpPr>
              <p:grpSpPr>
                <a:xfrm>
                  <a:off x="108821" y="66171"/>
                  <a:ext cx="7265267" cy="6514768"/>
                  <a:chOff x="711486" y="501255"/>
                  <a:chExt cx="7265267" cy="6514768"/>
                </a:xfrm>
              </p:grpSpPr>
              <p:sp>
                <p:nvSpPr>
                  <p:cNvPr id="115" name="Freihandform 114"/>
                  <p:cNvSpPr/>
                  <p:nvPr/>
                </p:nvSpPr>
                <p:spPr>
                  <a:xfrm rot="5400000">
                    <a:off x="2430206" y="1979339"/>
                    <a:ext cx="3480809" cy="3528490"/>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0 w 2192141"/>
                      <a:gd name="connsiteY15" fmla="*/ 2034210 h 3528490"/>
                      <a:gd name="connsiteX16" fmla="*/ 17822 w 2192141"/>
                      <a:gd name="connsiteY16"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0 w 2192141"/>
                      <a:gd name="connsiteY15" fmla="*/ 2034210 h 3528490"/>
                      <a:gd name="connsiteX16" fmla="*/ 17822 w 2192141"/>
                      <a:gd name="connsiteY16" fmla="*/ 717940 h 3528490"/>
                      <a:gd name="connsiteX17" fmla="*/ 0 w 2192141"/>
                      <a:gd name="connsiteY17" fmla="*/ 162781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24172 w 2198491"/>
                      <a:gd name="connsiteY0" fmla="*/ 717940 h 3528490"/>
                      <a:gd name="connsiteX1" fmla="*/ 816285 w 2198491"/>
                      <a:gd name="connsiteY1" fmla="*/ 717940 h 3528490"/>
                      <a:gd name="connsiteX2" fmla="*/ 1104324 w 2198491"/>
                      <a:gd name="connsiteY2" fmla="*/ 0 h 3528490"/>
                      <a:gd name="connsiteX3" fmla="*/ 1406383 w 2198491"/>
                      <a:gd name="connsiteY3" fmla="*/ 726242 h 3528490"/>
                      <a:gd name="connsiteX4" fmla="*/ 2184472 w 2198491"/>
                      <a:gd name="connsiteY4" fmla="*/ 717940 h 3528490"/>
                      <a:gd name="connsiteX5" fmla="*/ 2198491 w 2198491"/>
                      <a:gd name="connsiteY5" fmla="*/ 1438040 h 3528490"/>
                      <a:gd name="connsiteX6" fmla="*/ 2198491 w 2198491"/>
                      <a:gd name="connsiteY6" fmla="*/ 1510050 h 3528490"/>
                      <a:gd name="connsiteX7" fmla="*/ 1536380 w 2198491"/>
                      <a:gd name="connsiteY7" fmla="*/ 1798090 h 3528490"/>
                      <a:gd name="connsiteX8" fmla="*/ 2198491 w 2198491"/>
                      <a:gd name="connsiteY8" fmla="*/ 2086130 h 3528490"/>
                      <a:gd name="connsiteX9" fmla="*/ 2186397 w 2198491"/>
                      <a:gd name="connsiteY9" fmla="*/ 2878240 h 3528490"/>
                      <a:gd name="connsiteX10" fmla="*/ 2184472 w 2198491"/>
                      <a:gd name="connsiteY10" fmla="*/ 2878240 h 3528490"/>
                      <a:gd name="connsiteX11" fmla="*/ 1392360 w 2198491"/>
                      <a:gd name="connsiteY11" fmla="*/ 2878240 h 3528490"/>
                      <a:gd name="connsiteX12" fmla="*/ 1104320 w 2198491"/>
                      <a:gd name="connsiteY12" fmla="*/ 3526330 h 3528490"/>
                      <a:gd name="connsiteX13" fmla="*/ 816280 w 2198491"/>
                      <a:gd name="connsiteY13" fmla="*/ 2880790 h 3528490"/>
                      <a:gd name="connsiteX14" fmla="*/ 24172 w 2198491"/>
                      <a:gd name="connsiteY14" fmla="*/ 2878240 h 3528490"/>
                      <a:gd name="connsiteX15" fmla="*/ 6351 w 2198491"/>
                      <a:gd name="connsiteY15" fmla="*/ 2037490 h 3528490"/>
                      <a:gd name="connsiteX16" fmla="*/ 0 w 2198491"/>
                      <a:gd name="connsiteY16" fmla="*/ 1837360 h 3528490"/>
                      <a:gd name="connsiteX17" fmla="*/ 24172 w 2198491"/>
                      <a:gd name="connsiteY17" fmla="*/ 717940 h 3528490"/>
                      <a:gd name="connsiteX18" fmla="*/ 6350 w 2198491"/>
                      <a:gd name="connsiteY18" fmla="*/ 1627810 h 3528490"/>
                      <a:gd name="connsiteX19" fmla="*/ 24172 w 2198491"/>
                      <a:gd name="connsiteY19"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24171 w 2198490"/>
                      <a:gd name="connsiteY19"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2 w 2198491"/>
                      <a:gd name="connsiteY0" fmla="*/ 717940 h 3528490"/>
                      <a:gd name="connsiteX1" fmla="*/ 816285 w 2198491"/>
                      <a:gd name="connsiteY1" fmla="*/ 717940 h 3528490"/>
                      <a:gd name="connsiteX2" fmla="*/ 1104324 w 2198491"/>
                      <a:gd name="connsiteY2" fmla="*/ 0 h 3528490"/>
                      <a:gd name="connsiteX3" fmla="*/ 1406383 w 2198491"/>
                      <a:gd name="connsiteY3" fmla="*/ 726242 h 3528490"/>
                      <a:gd name="connsiteX4" fmla="*/ 2184472 w 2198491"/>
                      <a:gd name="connsiteY4" fmla="*/ 717940 h 3528490"/>
                      <a:gd name="connsiteX5" fmla="*/ 2198491 w 2198491"/>
                      <a:gd name="connsiteY5" fmla="*/ 1438040 h 3528490"/>
                      <a:gd name="connsiteX6" fmla="*/ 2198491 w 2198491"/>
                      <a:gd name="connsiteY6" fmla="*/ 1510050 h 3528490"/>
                      <a:gd name="connsiteX7" fmla="*/ 1536380 w 2198491"/>
                      <a:gd name="connsiteY7" fmla="*/ 1798090 h 3528490"/>
                      <a:gd name="connsiteX8" fmla="*/ 2198491 w 2198491"/>
                      <a:gd name="connsiteY8" fmla="*/ 2086130 h 3528490"/>
                      <a:gd name="connsiteX9" fmla="*/ 2186397 w 2198491"/>
                      <a:gd name="connsiteY9" fmla="*/ 2878240 h 3528490"/>
                      <a:gd name="connsiteX10" fmla="*/ 2184472 w 2198491"/>
                      <a:gd name="connsiteY10" fmla="*/ 2878240 h 3528490"/>
                      <a:gd name="connsiteX11" fmla="*/ 1392360 w 2198491"/>
                      <a:gd name="connsiteY11" fmla="*/ 2878240 h 3528490"/>
                      <a:gd name="connsiteX12" fmla="*/ 1104320 w 2198491"/>
                      <a:gd name="connsiteY12" fmla="*/ 3526330 h 3528490"/>
                      <a:gd name="connsiteX13" fmla="*/ 816280 w 2198491"/>
                      <a:gd name="connsiteY13" fmla="*/ 2880790 h 3528490"/>
                      <a:gd name="connsiteX14" fmla="*/ 24172 w 2198491"/>
                      <a:gd name="connsiteY14" fmla="*/ 2878240 h 3528490"/>
                      <a:gd name="connsiteX15" fmla="*/ 6351 w 2198491"/>
                      <a:gd name="connsiteY15" fmla="*/ 2037490 h 3528490"/>
                      <a:gd name="connsiteX16" fmla="*/ 1 w 2198491"/>
                      <a:gd name="connsiteY16" fmla="*/ 1893470 h 3528490"/>
                      <a:gd name="connsiteX17" fmla="*/ 24172 w 2198491"/>
                      <a:gd name="connsiteY17" fmla="*/ 717940 h 3528490"/>
                      <a:gd name="connsiteX18" fmla="*/ 1 w 2198491"/>
                      <a:gd name="connsiteY18" fmla="*/ 1383687 h 3528490"/>
                      <a:gd name="connsiteX19" fmla="*/ 12700 w 2198491"/>
                      <a:gd name="connsiteY19" fmla="*/ 1545260 h 3528490"/>
                      <a:gd name="connsiteX20" fmla="*/ 0 w 2198491"/>
                      <a:gd name="connsiteY20" fmla="*/ 1443660 h 3528490"/>
                      <a:gd name="connsiteX21" fmla="*/ 24172 w 2198491"/>
                      <a:gd name="connsiteY21"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533420 h 3528490"/>
                      <a:gd name="connsiteX19" fmla="*/ 12699 w 2198490"/>
                      <a:gd name="connsiteY19" fmla="*/ 1545260 h 3528490"/>
                      <a:gd name="connsiteX20" fmla="*/ 24171 w 2198490"/>
                      <a:gd name="connsiteY20" fmla="*/ 717940 h 3528490"/>
                      <a:gd name="connsiteX0" fmla="*/ 27141 w 2201460"/>
                      <a:gd name="connsiteY0" fmla="*/ 717940 h 3528490"/>
                      <a:gd name="connsiteX1" fmla="*/ 819254 w 2201460"/>
                      <a:gd name="connsiteY1" fmla="*/ 717940 h 3528490"/>
                      <a:gd name="connsiteX2" fmla="*/ 1107293 w 2201460"/>
                      <a:gd name="connsiteY2" fmla="*/ 0 h 3528490"/>
                      <a:gd name="connsiteX3" fmla="*/ 1409352 w 2201460"/>
                      <a:gd name="connsiteY3" fmla="*/ 726242 h 3528490"/>
                      <a:gd name="connsiteX4" fmla="*/ 2187441 w 2201460"/>
                      <a:gd name="connsiteY4" fmla="*/ 717940 h 3528490"/>
                      <a:gd name="connsiteX5" fmla="*/ 2201460 w 2201460"/>
                      <a:gd name="connsiteY5" fmla="*/ 1438040 h 3528490"/>
                      <a:gd name="connsiteX6" fmla="*/ 2201460 w 2201460"/>
                      <a:gd name="connsiteY6" fmla="*/ 1510050 h 3528490"/>
                      <a:gd name="connsiteX7" fmla="*/ 1539349 w 2201460"/>
                      <a:gd name="connsiteY7" fmla="*/ 1798090 h 3528490"/>
                      <a:gd name="connsiteX8" fmla="*/ 2201460 w 2201460"/>
                      <a:gd name="connsiteY8" fmla="*/ 2086130 h 3528490"/>
                      <a:gd name="connsiteX9" fmla="*/ 2189366 w 2201460"/>
                      <a:gd name="connsiteY9" fmla="*/ 2878240 h 3528490"/>
                      <a:gd name="connsiteX10" fmla="*/ 2187441 w 2201460"/>
                      <a:gd name="connsiteY10" fmla="*/ 2878240 h 3528490"/>
                      <a:gd name="connsiteX11" fmla="*/ 1395329 w 2201460"/>
                      <a:gd name="connsiteY11" fmla="*/ 2878240 h 3528490"/>
                      <a:gd name="connsiteX12" fmla="*/ 1107289 w 2201460"/>
                      <a:gd name="connsiteY12" fmla="*/ 3526330 h 3528490"/>
                      <a:gd name="connsiteX13" fmla="*/ 819249 w 2201460"/>
                      <a:gd name="connsiteY13" fmla="*/ 2880790 h 3528490"/>
                      <a:gd name="connsiteX14" fmla="*/ 27141 w 2201460"/>
                      <a:gd name="connsiteY14" fmla="*/ 2878240 h 3528490"/>
                      <a:gd name="connsiteX15" fmla="*/ 9320 w 2201460"/>
                      <a:gd name="connsiteY15" fmla="*/ 2037490 h 3528490"/>
                      <a:gd name="connsiteX16" fmla="*/ 2970 w 2201460"/>
                      <a:gd name="connsiteY16" fmla="*/ 1893470 h 3528490"/>
                      <a:gd name="connsiteX17" fmla="*/ 27141 w 2201460"/>
                      <a:gd name="connsiteY17" fmla="*/ 717940 h 3528490"/>
                      <a:gd name="connsiteX18" fmla="*/ 2970 w 2201460"/>
                      <a:gd name="connsiteY18" fmla="*/ 1533420 h 3528490"/>
                      <a:gd name="connsiteX19" fmla="*/ 9319 w 2201460"/>
                      <a:gd name="connsiteY19" fmla="*/ 1704010 h 3528490"/>
                      <a:gd name="connsiteX20" fmla="*/ 15669 w 2201460"/>
                      <a:gd name="connsiteY20" fmla="*/ 1545260 h 3528490"/>
                      <a:gd name="connsiteX21" fmla="*/ 27141 w 2201460"/>
                      <a:gd name="connsiteY21" fmla="*/ 717940 h 3528490"/>
                      <a:gd name="connsiteX0" fmla="*/ 26083 w 2200402"/>
                      <a:gd name="connsiteY0" fmla="*/ 717940 h 3528490"/>
                      <a:gd name="connsiteX1" fmla="*/ 818196 w 2200402"/>
                      <a:gd name="connsiteY1" fmla="*/ 717940 h 3528490"/>
                      <a:gd name="connsiteX2" fmla="*/ 1106235 w 2200402"/>
                      <a:gd name="connsiteY2" fmla="*/ 0 h 3528490"/>
                      <a:gd name="connsiteX3" fmla="*/ 1408294 w 2200402"/>
                      <a:gd name="connsiteY3" fmla="*/ 726242 h 3528490"/>
                      <a:gd name="connsiteX4" fmla="*/ 2186383 w 2200402"/>
                      <a:gd name="connsiteY4" fmla="*/ 717940 h 3528490"/>
                      <a:gd name="connsiteX5" fmla="*/ 2200402 w 2200402"/>
                      <a:gd name="connsiteY5" fmla="*/ 1438040 h 3528490"/>
                      <a:gd name="connsiteX6" fmla="*/ 2200402 w 2200402"/>
                      <a:gd name="connsiteY6" fmla="*/ 1510050 h 3528490"/>
                      <a:gd name="connsiteX7" fmla="*/ 1538291 w 2200402"/>
                      <a:gd name="connsiteY7" fmla="*/ 1798090 h 3528490"/>
                      <a:gd name="connsiteX8" fmla="*/ 2200402 w 2200402"/>
                      <a:gd name="connsiteY8" fmla="*/ 2086130 h 3528490"/>
                      <a:gd name="connsiteX9" fmla="*/ 2188308 w 2200402"/>
                      <a:gd name="connsiteY9" fmla="*/ 2878240 h 3528490"/>
                      <a:gd name="connsiteX10" fmla="*/ 2186383 w 2200402"/>
                      <a:gd name="connsiteY10" fmla="*/ 2878240 h 3528490"/>
                      <a:gd name="connsiteX11" fmla="*/ 1394271 w 2200402"/>
                      <a:gd name="connsiteY11" fmla="*/ 2878240 h 3528490"/>
                      <a:gd name="connsiteX12" fmla="*/ 1106231 w 2200402"/>
                      <a:gd name="connsiteY12" fmla="*/ 3526330 h 3528490"/>
                      <a:gd name="connsiteX13" fmla="*/ 818191 w 2200402"/>
                      <a:gd name="connsiteY13" fmla="*/ 2880790 h 3528490"/>
                      <a:gd name="connsiteX14" fmla="*/ 26083 w 2200402"/>
                      <a:gd name="connsiteY14" fmla="*/ 2878240 h 3528490"/>
                      <a:gd name="connsiteX15" fmla="*/ 8262 w 2200402"/>
                      <a:gd name="connsiteY15" fmla="*/ 2037490 h 3528490"/>
                      <a:gd name="connsiteX16" fmla="*/ 1912 w 2200402"/>
                      <a:gd name="connsiteY16" fmla="*/ 1893470 h 3528490"/>
                      <a:gd name="connsiteX17" fmla="*/ 26083 w 2200402"/>
                      <a:gd name="connsiteY17" fmla="*/ 717940 h 3528490"/>
                      <a:gd name="connsiteX18" fmla="*/ 1912 w 2200402"/>
                      <a:gd name="connsiteY18" fmla="*/ 1533420 h 3528490"/>
                      <a:gd name="connsiteX19" fmla="*/ 14611 w 2200402"/>
                      <a:gd name="connsiteY19" fmla="*/ 1545260 h 3528490"/>
                      <a:gd name="connsiteX20" fmla="*/ 26083 w 2200402"/>
                      <a:gd name="connsiteY20" fmla="*/ 717940 h 3528490"/>
                      <a:gd name="connsiteX0" fmla="*/ 26083 w 2200402"/>
                      <a:gd name="connsiteY0" fmla="*/ 717940 h 3528490"/>
                      <a:gd name="connsiteX1" fmla="*/ 818196 w 2200402"/>
                      <a:gd name="connsiteY1" fmla="*/ 717940 h 3528490"/>
                      <a:gd name="connsiteX2" fmla="*/ 1106235 w 2200402"/>
                      <a:gd name="connsiteY2" fmla="*/ 0 h 3528490"/>
                      <a:gd name="connsiteX3" fmla="*/ 1408294 w 2200402"/>
                      <a:gd name="connsiteY3" fmla="*/ 726242 h 3528490"/>
                      <a:gd name="connsiteX4" fmla="*/ 2186383 w 2200402"/>
                      <a:gd name="connsiteY4" fmla="*/ 717940 h 3528490"/>
                      <a:gd name="connsiteX5" fmla="*/ 2200402 w 2200402"/>
                      <a:gd name="connsiteY5" fmla="*/ 1438040 h 3528490"/>
                      <a:gd name="connsiteX6" fmla="*/ 2200402 w 2200402"/>
                      <a:gd name="connsiteY6" fmla="*/ 1510050 h 3528490"/>
                      <a:gd name="connsiteX7" fmla="*/ 1538291 w 2200402"/>
                      <a:gd name="connsiteY7" fmla="*/ 1798090 h 3528490"/>
                      <a:gd name="connsiteX8" fmla="*/ 2200402 w 2200402"/>
                      <a:gd name="connsiteY8" fmla="*/ 2086130 h 3528490"/>
                      <a:gd name="connsiteX9" fmla="*/ 2188308 w 2200402"/>
                      <a:gd name="connsiteY9" fmla="*/ 2878240 h 3528490"/>
                      <a:gd name="connsiteX10" fmla="*/ 2186383 w 2200402"/>
                      <a:gd name="connsiteY10" fmla="*/ 2878240 h 3528490"/>
                      <a:gd name="connsiteX11" fmla="*/ 1394271 w 2200402"/>
                      <a:gd name="connsiteY11" fmla="*/ 2878240 h 3528490"/>
                      <a:gd name="connsiteX12" fmla="*/ 1106231 w 2200402"/>
                      <a:gd name="connsiteY12" fmla="*/ 3526330 h 3528490"/>
                      <a:gd name="connsiteX13" fmla="*/ 818191 w 2200402"/>
                      <a:gd name="connsiteY13" fmla="*/ 2880790 h 3528490"/>
                      <a:gd name="connsiteX14" fmla="*/ 26083 w 2200402"/>
                      <a:gd name="connsiteY14" fmla="*/ 2878240 h 3528490"/>
                      <a:gd name="connsiteX15" fmla="*/ 8262 w 2200402"/>
                      <a:gd name="connsiteY15" fmla="*/ 2037490 h 3528490"/>
                      <a:gd name="connsiteX16" fmla="*/ 0 w 2200402"/>
                      <a:gd name="connsiteY16" fmla="*/ 1893470 h 3528490"/>
                      <a:gd name="connsiteX17" fmla="*/ 26083 w 2200402"/>
                      <a:gd name="connsiteY17" fmla="*/ 717940 h 3528490"/>
                      <a:gd name="connsiteX18" fmla="*/ 1912 w 2200402"/>
                      <a:gd name="connsiteY18" fmla="*/ 1533420 h 3528490"/>
                      <a:gd name="connsiteX19" fmla="*/ 14611 w 2200402"/>
                      <a:gd name="connsiteY19" fmla="*/ 1545260 h 3528490"/>
                      <a:gd name="connsiteX20" fmla="*/ 26083 w 2200402"/>
                      <a:gd name="connsiteY20" fmla="*/ 717940 h 3528490"/>
                      <a:gd name="connsiteX0" fmla="*/ 30111 w 2204430"/>
                      <a:gd name="connsiteY0" fmla="*/ 717940 h 3528490"/>
                      <a:gd name="connsiteX1" fmla="*/ 822224 w 2204430"/>
                      <a:gd name="connsiteY1" fmla="*/ 717940 h 3528490"/>
                      <a:gd name="connsiteX2" fmla="*/ 1110263 w 2204430"/>
                      <a:gd name="connsiteY2" fmla="*/ 0 h 3528490"/>
                      <a:gd name="connsiteX3" fmla="*/ 1412322 w 2204430"/>
                      <a:gd name="connsiteY3" fmla="*/ 726242 h 3528490"/>
                      <a:gd name="connsiteX4" fmla="*/ 2190411 w 2204430"/>
                      <a:gd name="connsiteY4" fmla="*/ 717940 h 3528490"/>
                      <a:gd name="connsiteX5" fmla="*/ 2204430 w 2204430"/>
                      <a:gd name="connsiteY5" fmla="*/ 1438040 h 3528490"/>
                      <a:gd name="connsiteX6" fmla="*/ 2204430 w 2204430"/>
                      <a:gd name="connsiteY6" fmla="*/ 1510050 h 3528490"/>
                      <a:gd name="connsiteX7" fmla="*/ 1542319 w 2204430"/>
                      <a:gd name="connsiteY7" fmla="*/ 1798090 h 3528490"/>
                      <a:gd name="connsiteX8" fmla="*/ 2204430 w 2204430"/>
                      <a:gd name="connsiteY8" fmla="*/ 2086130 h 3528490"/>
                      <a:gd name="connsiteX9" fmla="*/ 2192336 w 2204430"/>
                      <a:gd name="connsiteY9" fmla="*/ 2878240 h 3528490"/>
                      <a:gd name="connsiteX10" fmla="*/ 2190411 w 2204430"/>
                      <a:gd name="connsiteY10" fmla="*/ 2878240 h 3528490"/>
                      <a:gd name="connsiteX11" fmla="*/ 1398299 w 2204430"/>
                      <a:gd name="connsiteY11" fmla="*/ 2878240 h 3528490"/>
                      <a:gd name="connsiteX12" fmla="*/ 1110259 w 2204430"/>
                      <a:gd name="connsiteY12" fmla="*/ 3526330 h 3528490"/>
                      <a:gd name="connsiteX13" fmla="*/ 822219 w 2204430"/>
                      <a:gd name="connsiteY13" fmla="*/ 2880790 h 3528490"/>
                      <a:gd name="connsiteX14" fmla="*/ 30111 w 2204430"/>
                      <a:gd name="connsiteY14" fmla="*/ 2878240 h 3528490"/>
                      <a:gd name="connsiteX15" fmla="*/ 12290 w 2204430"/>
                      <a:gd name="connsiteY15" fmla="*/ 2037490 h 3528490"/>
                      <a:gd name="connsiteX16" fmla="*/ 4028 w 2204430"/>
                      <a:gd name="connsiteY16" fmla="*/ 1893470 h 3528490"/>
                      <a:gd name="connsiteX17" fmla="*/ 30111 w 2204430"/>
                      <a:gd name="connsiteY17" fmla="*/ 717940 h 3528490"/>
                      <a:gd name="connsiteX18" fmla="*/ 5940 w 2204430"/>
                      <a:gd name="connsiteY18" fmla="*/ 1533420 h 3528490"/>
                      <a:gd name="connsiteX19" fmla="*/ 4028 w 2204430"/>
                      <a:gd name="connsiteY19" fmla="*/ 1605430 h 3528490"/>
                      <a:gd name="connsiteX20" fmla="*/ 30111 w 2204430"/>
                      <a:gd name="connsiteY20" fmla="*/ 717940 h 3528490"/>
                      <a:gd name="connsiteX0" fmla="*/ 30111 w 2204430"/>
                      <a:gd name="connsiteY0" fmla="*/ 717940 h 3528490"/>
                      <a:gd name="connsiteX1" fmla="*/ 822224 w 2204430"/>
                      <a:gd name="connsiteY1" fmla="*/ 717940 h 3528490"/>
                      <a:gd name="connsiteX2" fmla="*/ 1110263 w 2204430"/>
                      <a:gd name="connsiteY2" fmla="*/ 0 h 3528490"/>
                      <a:gd name="connsiteX3" fmla="*/ 1412322 w 2204430"/>
                      <a:gd name="connsiteY3" fmla="*/ 726242 h 3528490"/>
                      <a:gd name="connsiteX4" fmla="*/ 2190411 w 2204430"/>
                      <a:gd name="connsiteY4" fmla="*/ 717940 h 3528490"/>
                      <a:gd name="connsiteX5" fmla="*/ 2204430 w 2204430"/>
                      <a:gd name="connsiteY5" fmla="*/ 1438040 h 3528490"/>
                      <a:gd name="connsiteX6" fmla="*/ 2204430 w 2204430"/>
                      <a:gd name="connsiteY6" fmla="*/ 1510050 h 3528490"/>
                      <a:gd name="connsiteX7" fmla="*/ 1542319 w 2204430"/>
                      <a:gd name="connsiteY7" fmla="*/ 1798090 h 3528490"/>
                      <a:gd name="connsiteX8" fmla="*/ 2204430 w 2204430"/>
                      <a:gd name="connsiteY8" fmla="*/ 2086130 h 3528490"/>
                      <a:gd name="connsiteX9" fmla="*/ 2192336 w 2204430"/>
                      <a:gd name="connsiteY9" fmla="*/ 2878240 h 3528490"/>
                      <a:gd name="connsiteX10" fmla="*/ 2190411 w 2204430"/>
                      <a:gd name="connsiteY10" fmla="*/ 2878240 h 3528490"/>
                      <a:gd name="connsiteX11" fmla="*/ 1398299 w 2204430"/>
                      <a:gd name="connsiteY11" fmla="*/ 2878240 h 3528490"/>
                      <a:gd name="connsiteX12" fmla="*/ 1110259 w 2204430"/>
                      <a:gd name="connsiteY12" fmla="*/ 3526330 h 3528490"/>
                      <a:gd name="connsiteX13" fmla="*/ 822219 w 2204430"/>
                      <a:gd name="connsiteY13" fmla="*/ 2880790 h 3528490"/>
                      <a:gd name="connsiteX14" fmla="*/ 30111 w 2204430"/>
                      <a:gd name="connsiteY14" fmla="*/ 2878240 h 3528490"/>
                      <a:gd name="connsiteX15" fmla="*/ 12290 w 2204430"/>
                      <a:gd name="connsiteY15" fmla="*/ 2037490 h 3528490"/>
                      <a:gd name="connsiteX16" fmla="*/ 0 w 2204430"/>
                      <a:gd name="connsiteY16" fmla="*/ 1821460 h 3528490"/>
                      <a:gd name="connsiteX17" fmla="*/ 30111 w 2204430"/>
                      <a:gd name="connsiteY17" fmla="*/ 717940 h 3528490"/>
                      <a:gd name="connsiteX18" fmla="*/ 5940 w 2204430"/>
                      <a:gd name="connsiteY18" fmla="*/ 1533420 h 3528490"/>
                      <a:gd name="connsiteX19" fmla="*/ 4028 w 2204430"/>
                      <a:gd name="connsiteY19" fmla="*/ 1605430 h 3528490"/>
                      <a:gd name="connsiteX20" fmla="*/ 30111 w 2204430"/>
                      <a:gd name="connsiteY20" fmla="*/ 717940 h 3528490"/>
                      <a:gd name="connsiteX0" fmla="*/ 136047 w 2310366"/>
                      <a:gd name="connsiteY0" fmla="*/ 717940 h 3528490"/>
                      <a:gd name="connsiteX1" fmla="*/ 928160 w 2310366"/>
                      <a:gd name="connsiteY1" fmla="*/ 717940 h 3528490"/>
                      <a:gd name="connsiteX2" fmla="*/ 1216199 w 2310366"/>
                      <a:gd name="connsiteY2" fmla="*/ 0 h 3528490"/>
                      <a:gd name="connsiteX3" fmla="*/ 1518258 w 2310366"/>
                      <a:gd name="connsiteY3" fmla="*/ 726242 h 3528490"/>
                      <a:gd name="connsiteX4" fmla="*/ 2296347 w 2310366"/>
                      <a:gd name="connsiteY4" fmla="*/ 717940 h 3528490"/>
                      <a:gd name="connsiteX5" fmla="*/ 2310366 w 2310366"/>
                      <a:gd name="connsiteY5" fmla="*/ 1438040 h 3528490"/>
                      <a:gd name="connsiteX6" fmla="*/ 2310366 w 2310366"/>
                      <a:gd name="connsiteY6" fmla="*/ 1510050 h 3528490"/>
                      <a:gd name="connsiteX7" fmla="*/ 1648255 w 2310366"/>
                      <a:gd name="connsiteY7" fmla="*/ 1798090 h 3528490"/>
                      <a:gd name="connsiteX8" fmla="*/ 2310366 w 2310366"/>
                      <a:gd name="connsiteY8" fmla="*/ 2086130 h 3528490"/>
                      <a:gd name="connsiteX9" fmla="*/ 2298272 w 2310366"/>
                      <a:gd name="connsiteY9" fmla="*/ 2878240 h 3528490"/>
                      <a:gd name="connsiteX10" fmla="*/ 2296347 w 2310366"/>
                      <a:gd name="connsiteY10" fmla="*/ 2878240 h 3528490"/>
                      <a:gd name="connsiteX11" fmla="*/ 1504235 w 2310366"/>
                      <a:gd name="connsiteY11" fmla="*/ 2878240 h 3528490"/>
                      <a:gd name="connsiteX12" fmla="*/ 1216195 w 2310366"/>
                      <a:gd name="connsiteY12" fmla="*/ 3526330 h 3528490"/>
                      <a:gd name="connsiteX13" fmla="*/ 928155 w 2310366"/>
                      <a:gd name="connsiteY13" fmla="*/ 2880790 h 3528490"/>
                      <a:gd name="connsiteX14" fmla="*/ 136047 w 2310366"/>
                      <a:gd name="connsiteY14" fmla="*/ 2878240 h 3528490"/>
                      <a:gd name="connsiteX15" fmla="*/ 118226 w 2310366"/>
                      <a:gd name="connsiteY15" fmla="*/ 2037490 h 3528490"/>
                      <a:gd name="connsiteX16" fmla="*/ 105936 w 2310366"/>
                      <a:gd name="connsiteY16" fmla="*/ 1821460 h 3528490"/>
                      <a:gd name="connsiteX17" fmla="*/ 136047 w 2310366"/>
                      <a:gd name="connsiteY17" fmla="*/ 717940 h 3528490"/>
                      <a:gd name="connsiteX18" fmla="*/ 111876 w 2310366"/>
                      <a:gd name="connsiteY18" fmla="*/ 1533420 h 3528490"/>
                      <a:gd name="connsiteX19" fmla="*/ 136047 w 2310366"/>
                      <a:gd name="connsiteY19" fmla="*/ 717940 h 3528490"/>
                      <a:gd name="connsiteX0" fmla="*/ 136047 w 2310366"/>
                      <a:gd name="connsiteY0" fmla="*/ 717940 h 3528490"/>
                      <a:gd name="connsiteX1" fmla="*/ 928160 w 2310366"/>
                      <a:gd name="connsiteY1" fmla="*/ 717940 h 3528490"/>
                      <a:gd name="connsiteX2" fmla="*/ 1216199 w 2310366"/>
                      <a:gd name="connsiteY2" fmla="*/ 0 h 3528490"/>
                      <a:gd name="connsiteX3" fmla="*/ 1518258 w 2310366"/>
                      <a:gd name="connsiteY3" fmla="*/ 726242 h 3528490"/>
                      <a:gd name="connsiteX4" fmla="*/ 2296347 w 2310366"/>
                      <a:gd name="connsiteY4" fmla="*/ 717940 h 3528490"/>
                      <a:gd name="connsiteX5" fmla="*/ 2310366 w 2310366"/>
                      <a:gd name="connsiteY5" fmla="*/ 1438040 h 3528490"/>
                      <a:gd name="connsiteX6" fmla="*/ 2310366 w 2310366"/>
                      <a:gd name="connsiteY6" fmla="*/ 1510050 h 3528490"/>
                      <a:gd name="connsiteX7" fmla="*/ 1648255 w 2310366"/>
                      <a:gd name="connsiteY7" fmla="*/ 1798090 h 3528490"/>
                      <a:gd name="connsiteX8" fmla="*/ 2310366 w 2310366"/>
                      <a:gd name="connsiteY8" fmla="*/ 2086130 h 3528490"/>
                      <a:gd name="connsiteX9" fmla="*/ 2298272 w 2310366"/>
                      <a:gd name="connsiteY9" fmla="*/ 2878240 h 3528490"/>
                      <a:gd name="connsiteX10" fmla="*/ 2296347 w 2310366"/>
                      <a:gd name="connsiteY10" fmla="*/ 2878240 h 3528490"/>
                      <a:gd name="connsiteX11" fmla="*/ 1504235 w 2310366"/>
                      <a:gd name="connsiteY11" fmla="*/ 2878240 h 3528490"/>
                      <a:gd name="connsiteX12" fmla="*/ 1216195 w 2310366"/>
                      <a:gd name="connsiteY12" fmla="*/ 3526330 h 3528490"/>
                      <a:gd name="connsiteX13" fmla="*/ 928155 w 2310366"/>
                      <a:gd name="connsiteY13" fmla="*/ 2880790 h 3528490"/>
                      <a:gd name="connsiteX14" fmla="*/ 136047 w 2310366"/>
                      <a:gd name="connsiteY14" fmla="*/ 2878240 h 3528490"/>
                      <a:gd name="connsiteX15" fmla="*/ 118226 w 2310366"/>
                      <a:gd name="connsiteY15" fmla="*/ 2037490 h 3528490"/>
                      <a:gd name="connsiteX16" fmla="*/ 136047 w 2310366"/>
                      <a:gd name="connsiteY16" fmla="*/ 717940 h 3528490"/>
                      <a:gd name="connsiteX17" fmla="*/ 111876 w 2310366"/>
                      <a:gd name="connsiteY17" fmla="*/ 1533420 h 3528490"/>
                      <a:gd name="connsiteX18" fmla="*/ 136047 w 2310366"/>
                      <a:gd name="connsiteY18"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03749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2699 w 2192140"/>
                      <a:gd name="connsiteY16" fmla="*/ 1557960 h 3528490"/>
                      <a:gd name="connsiteX17" fmla="*/ 17821 w 2192140"/>
                      <a:gd name="connsiteY17" fmla="*/ 717940 h 3528490"/>
                      <a:gd name="connsiteX18" fmla="*/ 17821 w 2192140"/>
                      <a:gd name="connsiteY18" fmla="*/ 717940 h 3528490"/>
                      <a:gd name="connsiteX0" fmla="*/ 549106 w 2723425"/>
                      <a:gd name="connsiteY0" fmla="*/ 717940 h 3528490"/>
                      <a:gd name="connsiteX1" fmla="*/ 1341219 w 2723425"/>
                      <a:gd name="connsiteY1" fmla="*/ 717940 h 3528490"/>
                      <a:gd name="connsiteX2" fmla="*/ 1629258 w 2723425"/>
                      <a:gd name="connsiteY2" fmla="*/ 0 h 3528490"/>
                      <a:gd name="connsiteX3" fmla="*/ 1931317 w 2723425"/>
                      <a:gd name="connsiteY3" fmla="*/ 726242 h 3528490"/>
                      <a:gd name="connsiteX4" fmla="*/ 2709406 w 2723425"/>
                      <a:gd name="connsiteY4" fmla="*/ 717940 h 3528490"/>
                      <a:gd name="connsiteX5" fmla="*/ 2723425 w 2723425"/>
                      <a:gd name="connsiteY5" fmla="*/ 1438040 h 3528490"/>
                      <a:gd name="connsiteX6" fmla="*/ 2723425 w 2723425"/>
                      <a:gd name="connsiteY6" fmla="*/ 1510050 h 3528490"/>
                      <a:gd name="connsiteX7" fmla="*/ 2061314 w 2723425"/>
                      <a:gd name="connsiteY7" fmla="*/ 1798090 h 3528490"/>
                      <a:gd name="connsiteX8" fmla="*/ 2723425 w 2723425"/>
                      <a:gd name="connsiteY8" fmla="*/ 2086130 h 3528490"/>
                      <a:gd name="connsiteX9" fmla="*/ 2711331 w 2723425"/>
                      <a:gd name="connsiteY9" fmla="*/ 2878240 h 3528490"/>
                      <a:gd name="connsiteX10" fmla="*/ 2709406 w 2723425"/>
                      <a:gd name="connsiteY10" fmla="*/ 2878240 h 3528490"/>
                      <a:gd name="connsiteX11" fmla="*/ 1917294 w 2723425"/>
                      <a:gd name="connsiteY11" fmla="*/ 2878240 h 3528490"/>
                      <a:gd name="connsiteX12" fmla="*/ 1629254 w 2723425"/>
                      <a:gd name="connsiteY12" fmla="*/ 3526330 h 3528490"/>
                      <a:gd name="connsiteX13" fmla="*/ 1341214 w 2723425"/>
                      <a:gd name="connsiteY13" fmla="*/ 2880790 h 3528490"/>
                      <a:gd name="connsiteX14" fmla="*/ 549106 w 2723425"/>
                      <a:gd name="connsiteY14" fmla="*/ 2878240 h 3528490"/>
                      <a:gd name="connsiteX15" fmla="*/ 531285 w 2723425"/>
                      <a:gd name="connsiteY15" fmla="*/ 2181510 h 3528490"/>
                      <a:gd name="connsiteX16" fmla="*/ 543984 w 2723425"/>
                      <a:gd name="connsiteY16" fmla="*/ 1557960 h 3528490"/>
                      <a:gd name="connsiteX17" fmla="*/ 549106 w 2723425"/>
                      <a:gd name="connsiteY17" fmla="*/ 717940 h 3528490"/>
                      <a:gd name="connsiteX18" fmla="*/ 549106 w 2723425"/>
                      <a:gd name="connsiteY18" fmla="*/ 717940 h 3528490"/>
                      <a:gd name="connsiteX0" fmla="*/ 232166 w 2406485"/>
                      <a:gd name="connsiteY0" fmla="*/ 717940 h 3528490"/>
                      <a:gd name="connsiteX1" fmla="*/ 1024279 w 2406485"/>
                      <a:gd name="connsiteY1" fmla="*/ 717940 h 3528490"/>
                      <a:gd name="connsiteX2" fmla="*/ 1312318 w 2406485"/>
                      <a:gd name="connsiteY2" fmla="*/ 0 h 3528490"/>
                      <a:gd name="connsiteX3" fmla="*/ 1614377 w 2406485"/>
                      <a:gd name="connsiteY3" fmla="*/ 726242 h 3528490"/>
                      <a:gd name="connsiteX4" fmla="*/ 2392466 w 2406485"/>
                      <a:gd name="connsiteY4" fmla="*/ 717940 h 3528490"/>
                      <a:gd name="connsiteX5" fmla="*/ 2406485 w 2406485"/>
                      <a:gd name="connsiteY5" fmla="*/ 1438040 h 3528490"/>
                      <a:gd name="connsiteX6" fmla="*/ 2406485 w 2406485"/>
                      <a:gd name="connsiteY6" fmla="*/ 1510050 h 3528490"/>
                      <a:gd name="connsiteX7" fmla="*/ 1744374 w 2406485"/>
                      <a:gd name="connsiteY7" fmla="*/ 1798090 h 3528490"/>
                      <a:gd name="connsiteX8" fmla="*/ 2406485 w 2406485"/>
                      <a:gd name="connsiteY8" fmla="*/ 2086130 h 3528490"/>
                      <a:gd name="connsiteX9" fmla="*/ 2394391 w 2406485"/>
                      <a:gd name="connsiteY9" fmla="*/ 2878240 h 3528490"/>
                      <a:gd name="connsiteX10" fmla="*/ 2392466 w 2406485"/>
                      <a:gd name="connsiteY10" fmla="*/ 2878240 h 3528490"/>
                      <a:gd name="connsiteX11" fmla="*/ 1600354 w 2406485"/>
                      <a:gd name="connsiteY11" fmla="*/ 2878240 h 3528490"/>
                      <a:gd name="connsiteX12" fmla="*/ 1312314 w 2406485"/>
                      <a:gd name="connsiteY12" fmla="*/ 3526330 h 3528490"/>
                      <a:gd name="connsiteX13" fmla="*/ 1024274 w 2406485"/>
                      <a:gd name="connsiteY13" fmla="*/ 2880790 h 3528490"/>
                      <a:gd name="connsiteX14" fmla="*/ 232166 w 2406485"/>
                      <a:gd name="connsiteY14" fmla="*/ 2878240 h 3528490"/>
                      <a:gd name="connsiteX15" fmla="*/ 214345 w 2406485"/>
                      <a:gd name="connsiteY15" fmla="*/ 2181510 h 3528490"/>
                      <a:gd name="connsiteX16" fmla="*/ 2116 w 2406485"/>
                      <a:gd name="connsiteY16" fmla="*/ 1821460 h 3528490"/>
                      <a:gd name="connsiteX17" fmla="*/ 227044 w 2406485"/>
                      <a:gd name="connsiteY17" fmla="*/ 1557960 h 3528490"/>
                      <a:gd name="connsiteX18" fmla="*/ 232166 w 2406485"/>
                      <a:gd name="connsiteY18" fmla="*/ 717940 h 3528490"/>
                      <a:gd name="connsiteX19" fmla="*/ 232166 w 2406485"/>
                      <a:gd name="connsiteY19" fmla="*/ 717940 h 3528490"/>
                      <a:gd name="connsiteX0" fmla="*/ 650389 w 2824708"/>
                      <a:gd name="connsiteY0" fmla="*/ 717940 h 3528490"/>
                      <a:gd name="connsiteX1" fmla="*/ 1442502 w 2824708"/>
                      <a:gd name="connsiteY1" fmla="*/ 717940 h 3528490"/>
                      <a:gd name="connsiteX2" fmla="*/ 1730541 w 2824708"/>
                      <a:gd name="connsiteY2" fmla="*/ 0 h 3528490"/>
                      <a:gd name="connsiteX3" fmla="*/ 2032600 w 2824708"/>
                      <a:gd name="connsiteY3" fmla="*/ 726242 h 3528490"/>
                      <a:gd name="connsiteX4" fmla="*/ 2810689 w 2824708"/>
                      <a:gd name="connsiteY4" fmla="*/ 717940 h 3528490"/>
                      <a:gd name="connsiteX5" fmla="*/ 2824708 w 2824708"/>
                      <a:gd name="connsiteY5" fmla="*/ 1438040 h 3528490"/>
                      <a:gd name="connsiteX6" fmla="*/ 2824708 w 2824708"/>
                      <a:gd name="connsiteY6" fmla="*/ 1510050 h 3528490"/>
                      <a:gd name="connsiteX7" fmla="*/ 2162597 w 2824708"/>
                      <a:gd name="connsiteY7" fmla="*/ 1798090 h 3528490"/>
                      <a:gd name="connsiteX8" fmla="*/ 2824708 w 2824708"/>
                      <a:gd name="connsiteY8" fmla="*/ 2086130 h 3528490"/>
                      <a:gd name="connsiteX9" fmla="*/ 2812614 w 2824708"/>
                      <a:gd name="connsiteY9" fmla="*/ 2878240 h 3528490"/>
                      <a:gd name="connsiteX10" fmla="*/ 2810689 w 2824708"/>
                      <a:gd name="connsiteY10" fmla="*/ 2878240 h 3528490"/>
                      <a:gd name="connsiteX11" fmla="*/ 2018577 w 2824708"/>
                      <a:gd name="connsiteY11" fmla="*/ 2878240 h 3528490"/>
                      <a:gd name="connsiteX12" fmla="*/ 1730537 w 2824708"/>
                      <a:gd name="connsiteY12" fmla="*/ 3526330 h 3528490"/>
                      <a:gd name="connsiteX13" fmla="*/ 1442497 w 2824708"/>
                      <a:gd name="connsiteY13" fmla="*/ 2880790 h 3528490"/>
                      <a:gd name="connsiteX14" fmla="*/ 650389 w 2824708"/>
                      <a:gd name="connsiteY14" fmla="*/ 2878240 h 3528490"/>
                      <a:gd name="connsiteX15" fmla="*/ 632568 w 2824708"/>
                      <a:gd name="connsiteY15" fmla="*/ 2181510 h 3528490"/>
                      <a:gd name="connsiteX16" fmla="*/ 2116 w 2824708"/>
                      <a:gd name="connsiteY16" fmla="*/ 1821460 h 3528490"/>
                      <a:gd name="connsiteX17" fmla="*/ 645267 w 2824708"/>
                      <a:gd name="connsiteY17" fmla="*/ 1557960 h 3528490"/>
                      <a:gd name="connsiteX18" fmla="*/ 650389 w 2824708"/>
                      <a:gd name="connsiteY18" fmla="*/ 717940 h 3528490"/>
                      <a:gd name="connsiteX19" fmla="*/ 650389 w 2824708"/>
                      <a:gd name="connsiteY19" fmla="*/ 717940 h 3528490"/>
                      <a:gd name="connsiteX0" fmla="*/ 649127 w 2823446"/>
                      <a:gd name="connsiteY0" fmla="*/ 717940 h 3528490"/>
                      <a:gd name="connsiteX1" fmla="*/ 1441240 w 2823446"/>
                      <a:gd name="connsiteY1" fmla="*/ 717940 h 3528490"/>
                      <a:gd name="connsiteX2" fmla="*/ 1729279 w 2823446"/>
                      <a:gd name="connsiteY2" fmla="*/ 0 h 3528490"/>
                      <a:gd name="connsiteX3" fmla="*/ 2031338 w 2823446"/>
                      <a:gd name="connsiteY3" fmla="*/ 726242 h 3528490"/>
                      <a:gd name="connsiteX4" fmla="*/ 2809427 w 2823446"/>
                      <a:gd name="connsiteY4" fmla="*/ 717940 h 3528490"/>
                      <a:gd name="connsiteX5" fmla="*/ 2823446 w 2823446"/>
                      <a:gd name="connsiteY5" fmla="*/ 1438040 h 3528490"/>
                      <a:gd name="connsiteX6" fmla="*/ 2823446 w 2823446"/>
                      <a:gd name="connsiteY6" fmla="*/ 1510050 h 3528490"/>
                      <a:gd name="connsiteX7" fmla="*/ 2161335 w 2823446"/>
                      <a:gd name="connsiteY7" fmla="*/ 1798090 h 3528490"/>
                      <a:gd name="connsiteX8" fmla="*/ 2823446 w 2823446"/>
                      <a:gd name="connsiteY8" fmla="*/ 2086130 h 3528490"/>
                      <a:gd name="connsiteX9" fmla="*/ 2811352 w 2823446"/>
                      <a:gd name="connsiteY9" fmla="*/ 2878240 h 3528490"/>
                      <a:gd name="connsiteX10" fmla="*/ 2809427 w 2823446"/>
                      <a:gd name="connsiteY10" fmla="*/ 2878240 h 3528490"/>
                      <a:gd name="connsiteX11" fmla="*/ 2017315 w 2823446"/>
                      <a:gd name="connsiteY11" fmla="*/ 2878240 h 3528490"/>
                      <a:gd name="connsiteX12" fmla="*/ 1729275 w 2823446"/>
                      <a:gd name="connsiteY12" fmla="*/ 3526330 h 3528490"/>
                      <a:gd name="connsiteX13" fmla="*/ 1441235 w 2823446"/>
                      <a:gd name="connsiteY13" fmla="*/ 2880790 h 3528490"/>
                      <a:gd name="connsiteX14" fmla="*/ 649127 w 2823446"/>
                      <a:gd name="connsiteY14" fmla="*/ 2878240 h 3528490"/>
                      <a:gd name="connsiteX15" fmla="*/ 649126 w 2823446"/>
                      <a:gd name="connsiteY15" fmla="*/ 2109500 h 3528490"/>
                      <a:gd name="connsiteX16" fmla="*/ 854 w 2823446"/>
                      <a:gd name="connsiteY16" fmla="*/ 1821460 h 3528490"/>
                      <a:gd name="connsiteX17" fmla="*/ 644005 w 2823446"/>
                      <a:gd name="connsiteY17" fmla="*/ 1557960 h 3528490"/>
                      <a:gd name="connsiteX18" fmla="*/ 649127 w 2823446"/>
                      <a:gd name="connsiteY18" fmla="*/ 717940 h 3528490"/>
                      <a:gd name="connsiteX19" fmla="*/ 649127 w 2823446"/>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3151 w 2822592"/>
                      <a:gd name="connsiteY17" fmla="*/ 155796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3151 w 2822592"/>
                      <a:gd name="connsiteY17" fmla="*/ 155796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3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3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75582"/>
                      <a:gd name="connsiteY0" fmla="*/ 717940 h 3528490"/>
                      <a:gd name="connsiteX1" fmla="*/ 1440386 w 3475582"/>
                      <a:gd name="connsiteY1" fmla="*/ 717940 h 3528490"/>
                      <a:gd name="connsiteX2" fmla="*/ 1728425 w 3475582"/>
                      <a:gd name="connsiteY2" fmla="*/ 0 h 3528490"/>
                      <a:gd name="connsiteX3" fmla="*/ 2030484 w 3475582"/>
                      <a:gd name="connsiteY3" fmla="*/ 726242 h 3528490"/>
                      <a:gd name="connsiteX4" fmla="*/ 2808573 w 3475582"/>
                      <a:gd name="connsiteY4" fmla="*/ 717940 h 3528490"/>
                      <a:gd name="connsiteX5" fmla="*/ 2822592 w 3475582"/>
                      <a:gd name="connsiteY5" fmla="*/ 1438040 h 3528490"/>
                      <a:gd name="connsiteX6" fmla="*/ 2822592 w 3475582"/>
                      <a:gd name="connsiteY6" fmla="*/ 1510050 h 3528490"/>
                      <a:gd name="connsiteX7" fmla="*/ 3418258 w 3475582"/>
                      <a:gd name="connsiteY7" fmla="*/ 1821462 h 3528490"/>
                      <a:gd name="connsiteX8" fmla="*/ 2822592 w 3475582"/>
                      <a:gd name="connsiteY8" fmla="*/ 2086130 h 3528490"/>
                      <a:gd name="connsiteX9" fmla="*/ 2810498 w 3475582"/>
                      <a:gd name="connsiteY9" fmla="*/ 2878240 h 3528490"/>
                      <a:gd name="connsiteX10" fmla="*/ 2808573 w 3475582"/>
                      <a:gd name="connsiteY10" fmla="*/ 2878240 h 3528490"/>
                      <a:gd name="connsiteX11" fmla="*/ 2016461 w 3475582"/>
                      <a:gd name="connsiteY11" fmla="*/ 2878240 h 3528490"/>
                      <a:gd name="connsiteX12" fmla="*/ 1728421 w 3475582"/>
                      <a:gd name="connsiteY12" fmla="*/ 3526330 h 3528490"/>
                      <a:gd name="connsiteX13" fmla="*/ 1440381 w 3475582"/>
                      <a:gd name="connsiteY13" fmla="*/ 2880790 h 3528490"/>
                      <a:gd name="connsiteX14" fmla="*/ 648273 w 3475582"/>
                      <a:gd name="connsiteY14" fmla="*/ 2878240 h 3528490"/>
                      <a:gd name="connsiteX15" fmla="*/ 648273 w 3475582"/>
                      <a:gd name="connsiteY15" fmla="*/ 2109500 h 3528490"/>
                      <a:gd name="connsiteX16" fmla="*/ 0 w 3475582"/>
                      <a:gd name="connsiteY16" fmla="*/ 1821460 h 3528490"/>
                      <a:gd name="connsiteX17" fmla="*/ 648272 w 3475582"/>
                      <a:gd name="connsiteY17" fmla="*/ 1533420 h 3528490"/>
                      <a:gd name="connsiteX18" fmla="*/ 648273 w 3475582"/>
                      <a:gd name="connsiteY18" fmla="*/ 717940 h 3528490"/>
                      <a:gd name="connsiteX19" fmla="*/ 648273 w 3475582"/>
                      <a:gd name="connsiteY19" fmla="*/ 717940 h 3528490"/>
                      <a:gd name="connsiteX0" fmla="*/ 648273 w 3532906"/>
                      <a:gd name="connsiteY0" fmla="*/ 717940 h 3528490"/>
                      <a:gd name="connsiteX1" fmla="*/ 1440386 w 3532906"/>
                      <a:gd name="connsiteY1" fmla="*/ 717940 h 3528490"/>
                      <a:gd name="connsiteX2" fmla="*/ 1728425 w 3532906"/>
                      <a:gd name="connsiteY2" fmla="*/ 0 h 3528490"/>
                      <a:gd name="connsiteX3" fmla="*/ 2030484 w 3532906"/>
                      <a:gd name="connsiteY3" fmla="*/ 726242 h 3528490"/>
                      <a:gd name="connsiteX4" fmla="*/ 2808573 w 3532906"/>
                      <a:gd name="connsiteY4" fmla="*/ 717940 h 3528490"/>
                      <a:gd name="connsiteX5" fmla="*/ 2822592 w 3532906"/>
                      <a:gd name="connsiteY5" fmla="*/ 1438040 h 3528490"/>
                      <a:gd name="connsiteX6" fmla="*/ 2822592 w 3532906"/>
                      <a:gd name="connsiteY6" fmla="*/ 1510050 h 3528490"/>
                      <a:gd name="connsiteX7" fmla="*/ 3475582 w 3532906"/>
                      <a:gd name="connsiteY7" fmla="*/ 1821462 h 3528490"/>
                      <a:gd name="connsiteX8" fmla="*/ 2822592 w 3532906"/>
                      <a:gd name="connsiteY8" fmla="*/ 2086130 h 3528490"/>
                      <a:gd name="connsiteX9" fmla="*/ 2810498 w 3532906"/>
                      <a:gd name="connsiteY9" fmla="*/ 2878240 h 3528490"/>
                      <a:gd name="connsiteX10" fmla="*/ 2808573 w 3532906"/>
                      <a:gd name="connsiteY10" fmla="*/ 2878240 h 3528490"/>
                      <a:gd name="connsiteX11" fmla="*/ 2016461 w 3532906"/>
                      <a:gd name="connsiteY11" fmla="*/ 2878240 h 3528490"/>
                      <a:gd name="connsiteX12" fmla="*/ 1728421 w 3532906"/>
                      <a:gd name="connsiteY12" fmla="*/ 3526330 h 3528490"/>
                      <a:gd name="connsiteX13" fmla="*/ 1440381 w 3532906"/>
                      <a:gd name="connsiteY13" fmla="*/ 2880790 h 3528490"/>
                      <a:gd name="connsiteX14" fmla="*/ 648273 w 3532906"/>
                      <a:gd name="connsiteY14" fmla="*/ 2878240 h 3528490"/>
                      <a:gd name="connsiteX15" fmla="*/ 648273 w 3532906"/>
                      <a:gd name="connsiteY15" fmla="*/ 2109500 h 3528490"/>
                      <a:gd name="connsiteX16" fmla="*/ 0 w 3532906"/>
                      <a:gd name="connsiteY16" fmla="*/ 1821460 h 3528490"/>
                      <a:gd name="connsiteX17" fmla="*/ 648272 w 3532906"/>
                      <a:gd name="connsiteY17" fmla="*/ 1533420 h 3528490"/>
                      <a:gd name="connsiteX18" fmla="*/ 648273 w 3532906"/>
                      <a:gd name="connsiteY18" fmla="*/ 717940 h 3528490"/>
                      <a:gd name="connsiteX19" fmla="*/ 648273 w 3532906"/>
                      <a:gd name="connsiteY19" fmla="*/ 717940 h 3528490"/>
                      <a:gd name="connsiteX0" fmla="*/ 648273 w 3518925"/>
                      <a:gd name="connsiteY0" fmla="*/ 717940 h 3528490"/>
                      <a:gd name="connsiteX1" fmla="*/ 1440386 w 3518925"/>
                      <a:gd name="connsiteY1" fmla="*/ 717940 h 3528490"/>
                      <a:gd name="connsiteX2" fmla="*/ 1728425 w 3518925"/>
                      <a:gd name="connsiteY2" fmla="*/ 0 h 3528490"/>
                      <a:gd name="connsiteX3" fmla="*/ 2030484 w 3518925"/>
                      <a:gd name="connsiteY3" fmla="*/ 726242 h 3528490"/>
                      <a:gd name="connsiteX4" fmla="*/ 2808573 w 3518925"/>
                      <a:gd name="connsiteY4" fmla="*/ 717940 h 3528490"/>
                      <a:gd name="connsiteX5" fmla="*/ 2822592 w 3518925"/>
                      <a:gd name="connsiteY5" fmla="*/ 1438040 h 3528490"/>
                      <a:gd name="connsiteX6" fmla="*/ 2822592 w 3518925"/>
                      <a:gd name="connsiteY6" fmla="*/ 1510050 h 3528490"/>
                      <a:gd name="connsiteX7" fmla="*/ 3475582 w 3518925"/>
                      <a:gd name="connsiteY7" fmla="*/ 1821462 h 3528490"/>
                      <a:gd name="connsiteX8" fmla="*/ 2822592 w 3518925"/>
                      <a:gd name="connsiteY8" fmla="*/ 2086130 h 3528490"/>
                      <a:gd name="connsiteX9" fmla="*/ 2810498 w 3518925"/>
                      <a:gd name="connsiteY9" fmla="*/ 2878240 h 3528490"/>
                      <a:gd name="connsiteX10" fmla="*/ 2808573 w 3518925"/>
                      <a:gd name="connsiteY10" fmla="*/ 2878240 h 3528490"/>
                      <a:gd name="connsiteX11" fmla="*/ 2016461 w 3518925"/>
                      <a:gd name="connsiteY11" fmla="*/ 2878240 h 3528490"/>
                      <a:gd name="connsiteX12" fmla="*/ 1728421 w 3518925"/>
                      <a:gd name="connsiteY12" fmla="*/ 3526330 h 3528490"/>
                      <a:gd name="connsiteX13" fmla="*/ 1440381 w 3518925"/>
                      <a:gd name="connsiteY13" fmla="*/ 2880790 h 3528490"/>
                      <a:gd name="connsiteX14" fmla="*/ 648273 w 3518925"/>
                      <a:gd name="connsiteY14" fmla="*/ 2878240 h 3528490"/>
                      <a:gd name="connsiteX15" fmla="*/ 648273 w 3518925"/>
                      <a:gd name="connsiteY15" fmla="*/ 2109500 h 3528490"/>
                      <a:gd name="connsiteX16" fmla="*/ 0 w 3518925"/>
                      <a:gd name="connsiteY16" fmla="*/ 1821460 h 3528490"/>
                      <a:gd name="connsiteX17" fmla="*/ 648272 w 3518925"/>
                      <a:gd name="connsiteY17" fmla="*/ 1533420 h 3528490"/>
                      <a:gd name="connsiteX18" fmla="*/ 648273 w 3518925"/>
                      <a:gd name="connsiteY18" fmla="*/ 717940 h 3528490"/>
                      <a:gd name="connsiteX19" fmla="*/ 648273 w 3518925"/>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80809" h="3528490">
                        <a:moveTo>
                          <a:pt x="648273" y="717940"/>
                        </a:moveTo>
                        <a:lnTo>
                          <a:pt x="1440386" y="717940"/>
                        </a:lnTo>
                        <a:cubicBezTo>
                          <a:pt x="1541636" y="632383"/>
                          <a:pt x="1069920" y="35191"/>
                          <a:pt x="1728425" y="0"/>
                        </a:cubicBezTo>
                        <a:cubicBezTo>
                          <a:pt x="2317159" y="80045"/>
                          <a:pt x="2056629" y="469512"/>
                          <a:pt x="2030484" y="726242"/>
                        </a:cubicBezTo>
                        <a:lnTo>
                          <a:pt x="2808573" y="717940"/>
                        </a:lnTo>
                        <a:lnTo>
                          <a:pt x="2822592" y="1438040"/>
                        </a:lnTo>
                        <a:lnTo>
                          <a:pt x="2822592" y="1510050"/>
                        </a:lnTo>
                        <a:cubicBezTo>
                          <a:pt x="2820319" y="1684145"/>
                          <a:pt x="3478431" y="1144330"/>
                          <a:pt x="3475582" y="1821462"/>
                        </a:cubicBezTo>
                        <a:cubicBezTo>
                          <a:pt x="3480809" y="2438159"/>
                          <a:pt x="2825231" y="2071855"/>
                          <a:pt x="2822592" y="2086130"/>
                        </a:cubicBezTo>
                        <a:cubicBezTo>
                          <a:pt x="2822340" y="2381300"/>
                          <a:pt x="2814529" y="2590200"/>
                          <a:pt x="2810498" y="2878240"/>
                        </a:cubicBezTo>
                        <a:cubicBezTo>
                          <a:pt x="2810497" y="2870497"/>
                          <a:pt x="2822592" y="2052696"/>
                          <a:pt x="2808573" y="2878240"/>
                        </a:cubicBezTo>
                        <a:lnTo>
                          <a:pt x="2016461" y="2878240"/>
                        </a:lnTo>
                        <a:cubicBezTo>
                          <a:pt x="1916014" y="2878240"/>
                          <a:pt x="2345218" y="3528490"/>
                          <a:pt x="1728421" y="3526330"/>
                        </a:cubicBezTo>
                        <a:cubicBezTo>
                          <a:pt x="1106781" y="3526330"/>
                          <a:pt x="1531961" y="2880790"/>
                          <a:pt x="1440381" y="2880790"/>
                        </a:cubicBezTo>
                        <a:lnTo>
                          <a:pt x="648273" y="2878240"/>
                        </a:lnTo>
                        <a:lnTo>
                          <a:pt x="648273" y="2109500"/>
                        </a:lnTo>
                        <a:cubicBezTo>
                          <a:pt x="544933" y="1987817"/>
                          <a:pt x="21707" y="2471063"/>
                          <a:pt x="0" y="1821460"/>
                        </a:cubicBezTo>
                        <a:cubicBezTo>
                          <a:pt x="27202" y="1137997"/>
                          <a:pt x="607202" y="1722107"/>
                          <a:pt x="648272" y="1533420"/>
                        </a:cubicBezTo>
                        <a:cubicBezTo>
                          <a:pt x="649979" y="1253413"/>
                          <a:pt x="646566" y="997947"/>
                          <a:pt x="648273" y="717940"/>
                        </a:cubicBezTo>
                        <a:lnTo>
                          <a:pt x="648273" y="717940"/>
                        </a:lnTo>
                        <a:close/>
                      </a:path>
                    </a:pathLst>
                  </a:custGeom>
                  <a:solidFill>
                    <a:schemeClr val="tx2"/>
                  </a:solidFill>
                  <a:ln>
                    <a:solidFill>
                      <a:srgbClr val="409D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16" name="Freihandform 115"/>
                  <p:cNvSpPr/>
                  <p:nvPr/>
                </p:nvSpPr>
                <p:spPr>
                  <a:xfrm rot="5400000">
                    <a:off x="3083452" y="-169814"/>
                    <a:ext cx="2174318" cy="3528489"/>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4319" h="3528490">
                        <a:moveTo>
                          <a:pt x="0" y="717940"/>
                        </a:moveTo>
                        <a:lnTo>
                          <a:pt x="792113" y="717940"/>
                        </a:lnTo>
                        <a:cubicBezTo>
                          <a:pt x="893363" y="632383"/>
                          <a:pt x="421647" y="35191"/>
                          <a:pt x="1080152" y="0"/>
                        </a:cubicBezTo>
                        <a:cubicBezTo>
                          <a:pt x="1668886" y="80045"/>
                          <a:pt x="1276924" y="516202"/>
                          <a:pt x="1382211" y="726242"/>
                        </a:cubicBezTo>
                        <a:lnTo>
                          <a:pt x="2160300" y="717940"/>
                        </a:lnTo>
                        <a:lnTo>
                          <a:pt x="2174319" y="1438040"/>
                        </a:lnTo>
                        <a:lnTo>
                          <a:pt x="2174319" y="1510050"/>
                        </a:lnTo>
                        <a:cubicBezTo>
                          <a:pt x="2067113" y="1702066"/>
                          <a:pt x="1555551" y="1141974"/>
                          <a:pt x="1512208" y="1798090"/>
                        </a:cubicBezTo>
                        <a:cubicBezTo>
                          <a:pt x="1569532" y="2422296"/>
                          <a:pt x="2015314" y="2001165"/>
                          <a:pt x="2174319" y="2086130"/>
                        </a:cubicBezTo>
                        <a:cubicBezTo>
                          <a:pt x="2174067" y="2381300"/>
                          <a:pt x="2166256" y="2590200"/>
                          <a:pt x="2162225" y="2878240"/>
                        </a:cubicBezTo>
                        <a:cubicBezTo>
                          <a:pt x="2162224" y="2870497"/>
                          <a:pt x="2174319" y="2052696"/>
                          <a:pt x="2160300" y="2878240"/>
                        </a:cubicBezTo>
                        <a:lnTo>
                          <a:pt x="1368188" y="2878240"/>
                        </a:lnTo>
                        <a:cubicBezTo>
                          <a:pt x="1267741" y="2878240"/>
                          <a:pt x="1696945" y="3528490"/>
                          <a:pt x="1080148" y="3526330"/>
                        </a:cubicBezTo>
                        <a:cubicBezTo>
                          <a:pt x="458508" y="3526330"/>
                          <a:pt x="883688" y="2880790"/>
                          <a:pt x="792108" y="2880790"/>
                        </a:cubicBezTo>
                        <a:lnTo>
                          <a:pt x="0" y="2878240"/>
                        </a:lnTo>
                        <a:lnTo>
                          <a:pt x="0" y="717940"/>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17" name="Freihandform 116"/>
                  <p:cNvSpPr/>
                  <p:nvPr/>
                </p:nvSpPr>
                <p:spPr>
                  <a:xfrm rot="10800000">
                    <a:off x="5243998" y="501255"/>
                    <a:ext cx="2174360" cy="2162851"/>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40 w 2174359"/>
                      <a:gd name="connsiteY0" fmla="*/ 0 h 2810550"/>
                      <a:gd name="connsiteX1" fmla="*/ 2160340 w 2174359"/>
                      <a:gd name="connsiteY1" fmla="*/ 0 h 2810550"/>
                      <a:gd name="connsiteX2" fmla="*/ 2174359 w 2174359"/>
                      <a:gd name="connsiteY2" fmla="*/ 720100 h 2810550"/>
                      <a:gd name="connsiteX3" fmla="*/ 2174359 w 2174359"/>
                      <a:gd name="connsiteY3" fmla="*/ 792110 h 2810550"/>
                      <a:gd name="connsiteX4" fmla="*/ 1512248 w 2174359"/>
                      <a:gd name="connsiteY4" fmla="*/ 1080150 h 2810550"/>
                      <a:gd name="connsiteX5" fmla="*/ 2174359 w 2174359"/>
                      <a:gd name="connsiteY5" fmla="*/ 1368190 h 2810550"/>
                      <a:gd name="connsiteX6" fmla="*/ 2162265 w 2174359"/>
                      <a:gd name="connsiteY6" fmla="*/ 2160300 h 2810550"/>
                      <a:gd name="connsiteX7" fmla="*/ 2160340 w 2174359"/>
                      <a:gd name="connsiteY7" fmla="*/ 2160300 h 2810550"/>
                      <a:gd name="connsiteX8" fmla="*/ 1368228 w 2174359"/>
                      <a:gd name="connsiteY8" fmla="*/ 2160300 h 2810550"/>
                      <a:gd name="connsiteX9" fmla="*/ 1080188 w 2174359"/>
                      <a:gd name="connsiteY9" fmla="*/ 2808390 h 2810550"/>
                      <a:gd name="connsiteX10" fmla="*/ 792148 w 2174359"/>
                      <a:gd name="connsiteY10" fmla="*/ 2162850 h 2810550"/>
                      <a:gd name="connsiteX11" fmla="*/ 40 w 2174359"/>
                      <a:gd name="connsiteY11" fmla="*/ 2160300 h 2810550"/>
                      <a:gd name="connsiteX12" fmla="*/ 0 w 2174359"/>
                      <a:gd name="connsiteY12" fmla="*/ 1028740 h 2810550"/>
                      <a:gd name="connsiteX13" fmla="*/ 40 w 2174359"/>
                      <a:gd name="connsiteY13" fmla="*/ 0 h 2810550"/>
                      <a:gd name="connsiteX0" fmla="*/ 40 w 2174359"/>
                      <a:gd name="connsiteY0" fmla="*/ 0 h 2810550"/>
                      <a:gd name="connsiteX1" fmla="*/ 2160340 w 2174359"/>
                      <a:gd name="connsiteY1" fmla="*/ 0 h 2810550"/>
                      <a:gd name="connsiteX2" fmla="*/ 2174359 w 2174359"/>
                      <a:gd name="connsiteY2" fmla="*/ 720100 h 2810550"/>
                      <a:gd name="connsiteX3" fmla="*/ 2174359 w 2174359"/>
                      <a:gd name="connsiteY3" fmla="*/ 792110 h 2810550"/>
                      <a:gd name="connsiteX4" fmla="*/ 1512248 w 2174359"/>
                      <a:gd name="connsiteY4" fmla="*/ 1080150 h 2810550"/>
                      <a:gd name="connsiteX5" fmla="*/ 2174359 w 2174359"/>
                      <a:gd name="connsiteY5" fmla="*/ 1368190 h 2810550"/>
                      <a:gd name="connsiteX6" fmla="*/ 2162265 w 2174359"/>
                      <a:gd name="connsiteY6" fmla="*/ 2160300 h 2810550"/>
                      <a:gd name="connsiteX7" fmla="*/ 2160340 w 2174359"/>
                      <a:gd name="connsiteY7" fmla="*/ 2160300 h 2810550"/>
                      <a:gd name="connsiteX8" fmla="*/ 1368228 w 2174359"/>
                      <a:gd name="connsiteY8" fmla="*/ 2160300 h 2810550"/>
                      <a:gd name="connsiteX9" fmla="*/ 1080188 w 2174359"/>
                      <a:gd name="connsiteY9" fmla="*/ 2808390 h 2810550"/>
                      <a:gd name="connsiteX10" fmla="*/ 792148 w 2174359"/>
                      <a:gd name="connsiteY10" fmla="*/ 2162850 h 2810550"/>
                      <a:gd name="connsiteX11" fmla="*/ 40 w 2174359"/>
                      <a:gd name="connsiteY11" fmla="*/ 2160300 h 2810550"/>
                      <a:gd name="connsiteX12" fmla="*/ 0 w 2174359"/>
                      <a:gd name="connsiteY12" fmla="*/ 1008140 h 2810550"/>
                      <a:gd name="connsiteX13" fmla="*/ 40 w 2174359"/>
                      <a:gd name="connsiteY13" fmla="*/ 0 h 2810550"/>
                      <a:gd name="connsiteX0" fmla="*/ 40 w 2174359"/>
                      <a:gd name="connsiteY0" fmla="*/ 0 h 2176480"/>
                      <a:gd name="connsiteX1" fmla="*/ 2160340 w 2174359"/>
                      <a:gd name="connsiteY1" fmla="*/ 0 h 2176480"/>
                      <a:gd name="connsiteX2" fmla="*/ 2174359 w 2174359"/>
                      <a:gd name="connsiteY2" fmla="*/ 720100 h 2176480"/>
                      <a:gd name="connsiteX3" fmla="*/ 2174359 w 2174359"/>
                      <a:gd name="connsiteY3" fmla="*/ 792110 h 2176480"/>
                      <a:gd name="connsiteX4" fmla="*/ 1512248 w 2174359"/>
                      <a:gd name="connsiteY4" fmla="*/ 1080150 h 2176480"/>
                      <a:gd name="connsiteX5" fmla="*/ 2174359 w 2174359"/>
                      <a:gd name="connsiteY5" fmla="*/ 1368190 h 2176480"/>
                      <a:gd name="connsiteX6" fmla="*/ 2162265 w 2174359"/>
                      <a:gd name="connsiteY6" fmla="*/ 2160300 h 2176480"/>
                      <a:gd name="connsiteX7" fmla="*/ 2160340 w 2174359"/>
                      <a:gd name="connsiteY7" fmla="*/ 2160300 h 2176480"/>
                      <a:gd name="connsiteX8" fmla="*/ 1368228 w 2174359"/>
                      <a:gd name="connsiteY8" fmla="*/ 2160300 h 2176480"/>
                      <a:gd name="connsiteX9" fmla="*/ 1022159 w 2174359"/>
                      <a:gd name="connsiteY9" fmla="*/ 2174320 h 2176480"/>
                      <a:gd name="connsiteX10" fmla="*/ 792148 w 2174359"/>
                      <a:gd name="connsiteY10" fmla="*/ 2162850 h 2176480"/>
                      <a:gd name="connsiteX11" fmla="*/ 40 w 2174359"/>
                      <a:gd name="connsiteY11" fmla="*/ 2160300 h 2176480"/>
                      <a:gd name="connsiteX12" fmla="*/ 0 w 2174359"/>
                      <a:gd name="connsiteY12" fmla="*/ 1008140 h 2176480"/>
                      <a:gd name="connsiteX13" fmla="*/ 40 w 2174359"/>
                      <a:gd name="connsiteY13" fmla="*/ 0 h 2176480"/>
                      <a:gd name="connsiteX0" fmla="*/ 40 w 2174359"/>
                      <a:gd name="connsiteY0" fmla="*/ 0 h 2162850"/>
                      <a:gd name="connsiteX1" fmla="*/ 2160340 w 2174359"/>
                      <a:gd name="connsiteY1" fmla="*/ 0 h 2162850"/>
                      <a:gd name="connsiteX2" fmla="*/ 2174359 w 2174359"/>
                      <a:gd name="connsiteY2" fmla="*/ 720100 h 2162850"/>
                      <a:gd name="connsiteX3" fmla="*/ 2174359 w 2174359"/>
                      <a:gd name="connsiteY3" fmla="*/ 792110 h 2162850"/>
                      <a:gd name="connsiteX4" fmla="*/ 1512248 w 2174359"/>
                      <a:gd name="connsiteY4" fmla="*/ 1080150 h 2162850"/>
                      <a:gd name="connsiteX5" fmla="*/ 2174359 w 2174359"/>
                      <a:gd name="connsiteY5" fmla="*/ 1368190 h 2162850"/>
                      <a:gd name="connsiteX6" fmla="*/ 2162265 w 2174359"/>
                      <a:gd name="connsiteY6" fmla="*/ 2160300 h 2162850"/>
                      <a:gd name="connsiteX7" fmla="*/ 2160340 w 2174359"/>
                      <a:gd name="connsiteY7" fmla="*/ 2160300 h 2162850"/>
                      <a:gd name="connsiteX8" fmla="*/ 1368228 w 2174359"/>
                      <a:gd name="connsiteY8" fmla="*/ 2160300 h 2162850"/>
                      <a:gd name="connsiteX9" fmla="*/ 792148 w 2174359"/>
                      <a:gd name="connsiteY9" fmla="*/ 2162850 h 2162850"/>
                      <a:gd name="connsiteX10" fmla="*/ 40 w 2174359"/>
                      <a:gd name="connsiteY10" fmla="*/ 2160300 h 2162850"/>
                      <a:gd name="connsiteX11" fmla="*/ 0 w 2174359"/>
                      <a:gd name="connsiteY11" fmla="*/ 1008140 h 2162850"/>
                      <a:gd name="connsiteX12" fmla="*/ 40 w 2174359"/>
                      <a:gd name="connsiteY12" fmla="*/ 0 h 216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74359" h="2162850">
                        <a:moveTo>
                          <a:pt x="40" y="0"/>
                        </a:moveTo>
                        <a:lnTo>
                          <a:pt x="2160340" y="0"/>
                        </a:lnTo>
                        <a:lnTo>
                          <a:pt x="2174359" y="720100"/>
                        </a:lnTo>
                        <a:lnTo>
                          <a:pt x="2174359" y="792110"/>
                        </a:lnTo>
                        <a:cubicBezTo>
                          <a:pt x="2127373" y="905666"/>
                          <a:pt x="1555591" y="424034"/>
                          <a:pt x="1512248" y="1080150"/>
                        </a:cubicBezTo>
                        <a:cubicBezTo>
                          <a:pt x="1569572" y="1704356"/>
                          <a:pt x="2060334" y="1244385"/>
                          <a:pt x="2174359" y="1368190"/>
                        </a:cubicBezTo>
                        <a:cubicBezTo>
                          <a:pt x="2174107" y="1663360"/>
                          <a:pt x="2166296" y="1872260"/>
                          <a:pt x="2162265" y="2160300"/>
                        </a:cubicBezTo>
                        <a:cubicBezTo>
                          <a:pt x="2162264" y="2152557"/>
                          <a:pt x="2174359" y="1334756"/>
                          <a:pt x="2160340" y="2160300"/>
                        </a:cubicBezTo>
                        <a:lnTo>
                          <a:pt x="1368228" y="2160300"/>
                        </a:lnTo>
                        <a:lnTo>
                          <a:pt x="792148" y="2162850"/>
                        </a:lnTo>
                        <a:lnTo>
                          <a:pt x="40" y="2160300"/>
                        </a:lnTo>
                        <a:cubicBezTo>
                          <a:pt x="27" y="1783113"/>
                          <a:pt x="13" y="1385327"/>
                          <a:pt x="0" y="1008140"/>
                        </a:cubicBezTo>
                        <a:cubicBezTo>
                          <a:pt x="13" y="665227"/>
                          <a:pt x="27" y="342913"/>
                          <a:pt x="40" y="0"/>
                        </a:cubicBez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18" name="Freihandform 117"/>
                  <p:cNvSpPr/>
                  <p:nvPr/>
                </p:nvSpPr>
                <p:spPr>
                  <a:xfrm>
                    <a:off x="911540" y="1954502"/>
                    <a:ext cx="2185085" cy="2816659"/>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2415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5520 w 2174319"/>
                      <a:gd name="connsiteY15" fmla="*/ 1719503 h 2816656"/>
                      <a:gd name="connsiteX16" fmla="*/ 0 w 2174319"/>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10355 w 2184674"/>
                      <a:gd name="connsiteY0" fmla="*/ 653806 h 2816656"/>
                      <a:gd name="connsiteX1" fmla="*/ 802468 w 2184674"/>
                      <a:gd name="connsiteY1" fmla="*/ 653806 h 2816656"/>
                      <a:gd name="connsiteX2" fmla="*/ 1104523 w 2184674"/>
                      <a:gd name="connsiteY2" fmla="*/ 0 h 2816656"/>
                      <a:gd name="connsiteX3" fmla="*/ 1392566 w 2184674"/>
                      <a:gd name="connsiteY3" fmla="*/ 662108 h 2816656"/>
                      <a:gd name="connsiteX4" fmla="*/ 2170655 w 2184674"/>
                      <a:gd name="connsiteY4" fmla="*/ 653806 h 2816656"/>
                      <a:gd name="connsiteX5" fmla="*/ 2184674 w 2184674"/>
                      <a:gd name="connsiteY5" fmla="*/ 1373906 h 2816656"/>
                      <a:gd name="connsiteX6" fmla="*/ 2184674 w 2184674"/>
                      <a:gd name="connsiteY6" fmla="*/ 1445916 h 2816656"/>
                      <a:gd name="connsiteX7" fmla="*/ 1522563 w 2184674"/>
                      <a:gd name="connsiteY7" fmla="*/ 1733956 h 2816656"/>
                      <a:gd name="connsiteX8" fmla="*/ 2184674 w 2184674"/>
                      <a:gd name="connsiteY8" fmla="*/ 2021996 h 2816656"/>
                      <a:gd name="connsiteX9" fmla="*/ 2172580 w 2184674"/>
                      <a:gd name="connsiteY9" fmla="*/ 2814106 h 2816656"/>
                      <a:gd name="connsiteX10" fmla="*/ 2170655 w 2184674"/>
                      <a:gd name="connsiteY10" fmla="*/ 2814106 h 2816656"/>
                      <a:gd name="connsiteX11" fmla="*/ 1378543 w 2184674"/>
                      <a:gd name="connsiteY11" fmla="*/ 2814106 h 2816656"/>
                      <a:gd name="connsiteX12" fmla="*/ 1090507 w 2184674"/>
                      <a:gd name="connsiteY12" fmla="*/ 2096167 h 2816656"/>
                      <a:gd name="connsiteX13" fmla="*/ 802463 w 2184674"/>
                      <a:gd name="connsiteY13" fmla="*/ 2816656 h 2816656"/>
                      <a:gd name="connsiteX14" fmla="*/ 10355 w 2184674"/>
                      <a:gd name="connsiteY14" fmla="*/ 2814106 h 2816656"/>
                      <a:gd name="connsiteX15" fmla="*/ 7872 w 2184674"/>
                      <a:gd name="connsiteY15" fmla="*/ 1883795 h 2816656"/>
                      <a:gd name="connsiteX16" fmla="*/ 10355 w 2184674"/>
                      <a:gd name="connsiteY16" fmla="*/ 653806 h 2816656"/>
                      <a:gd name="connsiteX0" fmla="*/ 10355 w 2184674"/>
                      <a:gd name="connsiteY0" fmla="*/ 653806 h 2816656"/>
                      <a:gd name="connsiteX1" fmla="*/ 802468 w 2184674"/>
                      <a:gd name="connsiteY1" fmla="*/ 653806 h 2816656"/>
                      <a:gd name="connsiteX2" fmla="*/ 1104523 w 2184674"/>
                      <a:gd name="connsiteY2" fmla="*/ 0 h 2816656"/>
                      <a:gd name="connsiteX3" fmla="*/ 1392566 w 2184674"/>
                      <a:gd name="connsiteY3" fmla="*/ 662108 h 2816656"/>
                      <a:gd name="connsiteX4" fmla="*/ 2170655 w 2184674"/>
                      <a:gd name="connsiteY4" fmla="*/ 653806 h 2816656"/>
                      <a:gd name="connsiteX5" fmla="*/ 2184674 w 2184674"/>
                      <a:gd name="connsiteY5" fmla="*/ 1373906 h 2816656"/>
                      <a:gd name="connsiteX6" fmla="*/ 2184674 w 2184674"/>
                      <a:gd name="connsiteY6" fmla="*/ 1445916 h 2816656"/>
                      <a:gd name="connsiteX7" fmla="*/ 1522563 w 2184674"/>
                      <a:gd name="connsiteY7" fmla="*/ 1733956 h 2816656"/>
                      <a:gd name="connsiteX8" fmla="*/ 2184674 w 2184674"/>
                      <a:gd name="connsiteY8" fmla="*/ 2021996 h 2816656"/>
                      <a:gd name="connsiteX9" fmla="*/ 2172580 w 2184674"/>
                      <a:gd name="connsiteY9" fmla="*/ 2814106 h 2816656"/>
                      <a:gd name="connsiteX10" fmla="*/ 2170655 w 2184674"/>
                      <a:gd name="connsiteY10" fmla="*/ 2814106 h 2816656"/>
                      <a:gd name="connsiteX11" fmla="*/ 1378543 w 2184674"/>
                      <a:gd name="connsiteY11" fmla="*/ 2814106 h 2816656"/>
                      <a:gd name="connsiteX12" fmla="*/ 1090507 w 2184674"/>
                      <a:gd name="connsiteY12" fmla="*/ 2096167 h 2816656"/>
                      <a:gd name="connsiteX13" fmla="*/ 802463 w 2184674"/>
                      <a:gd name="connsiteY13" fmla="*/ 2816656 h 2816656"/>
                      <a:gd name="connsiteX14" fmla="*/ 10355 w 2184674"/>
                      <a:gd name="connsiteY14" fmla="*/ 2814106 h 2816656"/>
                      <a:gd name="connsiteX15" fmla="*/ 7872 w 2184674"/>
                      <a:gd name="connsiteY15" fmla="*/ 1883795 h 2816656"/>
                      <a:gd name="connsiteX16" fmla="*/ 10355 w 2184674"/>
                      <a:gd name="connsiteY16" fmla="*/ 653806 h 2816656"/>
                      <a:gd name="connsiteX0" fmla="*/ 7919 w 2182238"/>
                      <a:gd name="connsiteY0" fmla="*/ 653806 h 2816656"/>
                      <a:gd name="connsiteX1" fmla="*/ 800032 w 2182238"/>
                      <a:gd name="connsiteY1" fmla="*/ 653806 h 2816656"/>
                      <a:gd name="connsiteX2" fmla="*/ 1102087 w 2182238"/>
                      <a:gd name="connsiteY2" fmla="*/ 0 h 2816656"/>
                      <a:gd name="connsiteX3" fmla="*/ 1390130 w 2182238"/>
                      <a:gd name="connsiteY3" fmla="*/ 662108 h 2816656"/>
                      <a:gd name="connsiteX4" fmla="*/ 2168219 w 2182238"/>
                      <a:gd name="connsiteY4" fmla="*/ 653806 h 2816656"/>
                      <a:gd name="connsiteX5" fmla="*/ 2182238 w 2182238"/>
                      <a:gd name="connsiteY5" fmla="*/ 1373906 h 2816656"/>
                      <a:gd name="connsiteX6" fmla="*/ 2182238 w 2182238"/>
                      <a:gd name="connsiteY6" fmla="*/ 1445916 h 2816656"/>
                      <a:gd name="connsiteX7" fmla="*/ 1520127 w 2182238"/>
                      <a:gd name="connsiteY7" fmla="*/ 1733956 h 2816656"/>
                      <a:gd name="connsiteX8" fmla="*/ 2182238 w 2182238"/>
                      <a:gd name="connsiteY8" fmla="*/ 2021996 h 2816656"/>
                      <a:gd name="connsiteX9" fmla="*/ 2170144 w 2182238"/>
                      <a:gd name="connsiteY9" fmla="*/ 2814106 h 2816656"/>
                      <a:gd name="connsiteX10" fmla="*/ 2168219 w 2182238"/>
                      <a:gd name="connsiteY10" fmla="*/ 2814106 h 2816656"/>
                      <a:gd name="connsiteX11" fmla="*/ 1376107 w 2182238"/>
                      <a:gd name="connsiteY11" fmla="*/ 2814106 h 2816656"/>
                      <a:gd name="connsiteX12" fmla="*/ 1088071 w 2182238"/>
                      <a:gd name="connsiteY12" fmla="*/ 2096167 h 2816656"/>
                      <a:gd name="connsiteX13" fmla="*/ 800027 w 2182238"/>
                      <a:gd name="connsiteY13" fmla="*/ 2816656 h 2816656"/>
                      <a:gd name="connsiteX14" fmla="*/ 7919 w 2182238"/>
                      <a:gd name="connsiteY14" fmla="*/ 2814106 h 2816656"/>
                      <a:gd name="connsiteX15" fmla="*/ 5436 w 2182238"/>
                      <a:gd name="connsiteY15" fmla="*/ 1883795 h 2816656"/>
                      <a:gd name="connsiteX16" fmla="*/ 7919 w 2182238"/>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3958 w 2178277"/>
                      <a:gd name="connsiteY0" fmla="*/ 653806 h 2816656"/>
                      <a:gd name="connsiteX1" fmla="*/ 796071 w 2178277"/>
                      <a:gd name="connsiteY1" fmla="*/ 653806 h 2816656"/>
                      <a:gd name="connsiteX2" fmla="*/ 1098126 w 2178277"/>
                      <a:gd name="connsiteY2" fmla="*/ 0 h 2816656"/>
                      <a:gd name="connsiteX3" fmla="*/ 1386169 w 2178277"/>
                      <a:gd name="connsiteY3" fmla="*/ 662108 h 2816656"/>
                      <a:gd name="connsiteX4" fmla="*/ 2164258 w 2178277"/>
                      <a:gd name="connsiteY4" fmla="*/ 653806 h 2816656"/>
                      <a:gd name="connsiteX5" fmla="*/ 2178277 w 2178277"/>
                      <a:gd name="connsiteY5" fmla="*/ 1373906 h 2816656"/>
                      <a:gd name="connsiteX6" fmla="*/ 2178277 w 2178277"/>
                      <a:gd name="connsiteY6" fmla="*/ 1445916 h 2816656"/>
                      <a:gd name="connsiteX7" fmla="*/ 1516166 w 2178277"/>
                      <a:gd name="connsiteY7" fmla="*/ 1733956 h 2816656"/>
                      <a:gd name="connsiteX8" fmla="*/ 2178277 w 2178277"/>
                      <a:gd name="connsiteY8" fmla="*/ 2021996 h 2816656"/>
                      <a:gd name="connsiteX9" fmla="*/ 2166183 w 2178277"/>
                      <a:gd name="connsiteY9" fmla="*/ 2814106 h 2816656"/>
                      <a:gd name="connsiteX10" fmla="*/ 2164258 w 2178277"/>
                      <a:gd name="connsiteY10" fmla="*/ 2814106 h 2816656"/>
                      <a:gd name="connsiteX11" fmla="*/ 1372146 w 2178277"/>
                      <a:gd name="connsiteY11" fmla="*/ 2814106 h 2816656"/>
                      <a:gd name="connsiteX12" fmla="*/ 1084110 w 2178277"/>
                      <a:gd name="connsiteY12" fmla="*/ 2096167 h 2816656"/>
                      <a:gd name="connsiteX13" fmla="*/ 796066 w 2178277"/>
                      <a:gd name="connsiteY13" fmla="*/ 2816656 h 2816656"/>
                      <a:gd name="connsiteX14" fmla="*/ 3958 w 2178277"/>
                      <a:gd name="connsiteY14" fmla="*/ 2814106 h 2816656"/>
                      <a:gd name="connsiteX15" fmla="*/ 1475 w 2178277"/>
                      <a:gd name="connsiteY15" fmla="*/ 1883795 h 2816656"/>
                      <a:gd name="connsiteX16" fmla="*/ 3958 w 2178277"/>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208415 w 2176802"/>
                      <a:gd name="connsiteY1" fmla="*/ 653232 h 2816656"/>
                      <a:gd name="connsiteX2" fmla="*/ 794596 w 2176802"/>
                      <a:gd name="connsiteY2" fmla="*/ 653806 h 2816656"/>
                      <a:gd name="connsiteX3" fmla="*/ 1096651 w 2176802"/>
                      <a:gd name="connsiteY3" fmla="*/ 0 h 2816656"/>
                      <a:gd name="connsiteX4" fmla="*/ 1384694 w 2176802"/>
                      <a:gd name="connsiteY4" fmla="*/ 662108 h 2816656"/>
                      <a:gd name="connsiteX5" fmla="*/ 2162783 w 2176802"/>
                      <a:gd name="connsiteY5" fmla="*/ 653806 h 2816656"/>
                      <a:gd name="connsiteX6" fmla="*/ 2176802 w 2176802"/>
                      <a:gd name="connsiteY6" fmla="*/ 1373906 h 2816656"/>
                      <a:gd name="connsiteX7" fmla="*/ 2176802 w 2176802"/>
                      <a:gd name="connsiteY7" fmla="*/ 1445916 h 2816656"/>
                      <a:gd name="connsiteX8" fmla="*/ 1514691 w 2176802"/>
                      <a:gd name="connsiteY8" fmla="*/ 1733956 h 2816656"/>
                      <a:gd name="connsiteX9" fmla="*/ 2176802 w 2176802"/>
                      <a:gd name="connsiteY9" fmla="*/ 2021996 h 2816656"/>
                      <a:gd name="connsiteX10" fmla="*/ 2164708 w 2176802"/>
                      <a:gd name="connsiteY10" fmla="*/ 2814106 h 2816656"/>
                      <a:gd name="connsiteX11" fmla="*/ 2162783 w 2176802"/>
                      <a:gd name="connsiteY11" fmla="*/ 2814106 h 2816656"/>
                      <a:gd name="connsiteX12" fmla="*/ 1370671 w 2176802"/>
                      <a:gd name="connsiteY12" fmla="*/ 2814106 h 2816656"/>
                      <a:gd name="connsiteX13" fmla="*/ 1082635 w 2176802"/>
                      <a:gd name="connsiteY13" fmla="*/ 2096167 h 2816656"/>
                      <a:gd name="connsiteX14" fmla="*/ 794591 w 2176802"/>
                      <a:gd name="connsiteY14" fmla="*/ 2816656 h 2816656"/>
                      <a:gd name="connsiteX15" fmla="*/ 2483 w 2176802"/>
                      <a:gd name="connsiteY15" fmla="*/ 2814106 h 2816656"/>
                      <a:gd name="connsiteX16" fmla="*/ 0 w 2176802"/>
                      <a:gd name="connsiteY16" fmla="*/ 1883795 h 2816656"/>
                      <a:gd name="connsiteX17" fmla="*/ 2483 w 2176802"/>
                      <a:gd name="connsiteY17" fmla="*/ 653806 h 2816656"/>
                      <a:gd name="connsiteX0" fmla="*/ 2483 w 2176802"/>
                      <a:gd name="connsiteY0" fmla="*/ 653806 h 2816656"/>
                      <a:gd name="connsiteX1" fmla="*/ 208415 w 2176802"/>
                      <a:gd name="connsiteY1" fmla="*/ 653232 h 2816656"/>
                      <a:gd name="connsiteX2" fmla="*/ 794596 w 2176802"/>
                      <a:gd name="connsiteY2" fmla="*/ 653806 h 2816656"/>
                      <a:gd name="connsiteX3" fmla="*/ 1096651 w 2176802"/>
                      <a:gd name="connsiteY3" fmla="*/ 0 h 2816656"/>
                      <a:gd name="connsiteX4" fmla="*/ 1384694 w 2176802"/>
                      <a:gd name="connsiteY4" fmla="*/ 662108 h 2816656"/>
                      <a:gd name="connsiteX5" fmla="*/ 2162783 w 2176802"/>
                      <a:gd name="connsiteY5" fmla="*/ 653806 h 2816656"/>
                      <a:gd name="connsiteX6" fmla="*/ 2176802 w 2176802"/>
                      <a:gd name="connsiteY6" fmla="*/ 1373906 h 2816656"/>
                      <a:gd name="connsiteX7" fmla="*/ 2176802 w 2176802"/>
                      <a:gd name="connsiteY7" fmla="*/ 1445916 h 2816656"/>
                      <a:gd name="connsiteX8" fmla="*/ 1514691 w 2176802"/>
                      <a:gd name="connsiteY8" fmla="*/ 1733956 h 2816656"/>
                      <a:gd name="connsiteX9" fmla="*/ 2176802 w 2176802"/>
                      <a:gd name="connsiteY9" fmla="*/ 2021996 h 2816656"/>
                      <a:gd name="connsiteX10" fmla="*/ 2164708 w 2176802"/>
                      <a:gd name="connsiteY10" fmla="*/ 2814106 h 2816656"/>
                      <a:gd name="connsiteX11" fmla="*/ 2162783 w 2176802"/>
                      <a:gd name="connsiteY11" fmla="*/ 2814106 h 2816656"/>
                      <a:gd name="connsiteX12" fmla="*/ 1370671 w 2176802"/>
                      <a:gd name="connsiteY12" fmla="*/ 2814106 h 2816656"/>
                      <a:gd name="connsiteX13" fmla="*/ 1082635 w 2176802"/>
                      <a:gd name="connsiteY13" fmla="*/ 2096167 h 2816656"/>
                      <a:gd name="connsiteX14" fmla="*/ 794591 w 2176802"/>
                      <a:gd name="connsiteY14" fmla="*/ 2816656 h 2816656"/>
                      <a:gd name="connsiteX15" fmla="*/ 2483 w 2176802"/>
                      <a:gd name="connsiteY15" fmla="*/ 2814106 h 2816656"/>
                      <a:gd name="connsiteX16" fmla="*/ 0 w 2176802"/>
                      <a:gd name="connsiteY16" fmla="*/ 1883795 h 2816656"/>
                      <a:gd name="connsiteX17" fmla="*/ 2483 w 2176802"/>
                      <a:gd name="connsiteY17" fmla="*/ 653806 h 2816656"/>
                      <a:gd name="connsiteX0" fmla="*/ 33401 w 2207720"/>
                      <a:gd name="connsiteY0" fmla="*/ 653806 h 2816656"/>
                      <a:gd name="connsiteX1" fmla="*/ 239333 w 2207720"/>
                      <a:gd name="connsiteY1" fmla="*/ 653232 h 2816656"/>
                      <a:gd name="connsiteX2" fmla="*/ 825514 w 2207720"/>
                      <a:gd name="connsiteY2" fmla="*/ 653806 h 2816656"/>
                      <a:gd name="connsiteX3" fmla="*/ 1127569 w 2207720"/>
                      <a:gd name="connsiteY3" fmla="*/ 0 h 2816656"/>
                      <a:gd name="connsiteX4" fmla="*/ 1415612 w 2207720"/>
                      <a:gd name="connsiteY4" fmla="*/ 662108 h 2816656"/>
                      <a:gd name="connsiteX5" fmla="*/ 2193701 w 2207720"/>
                      <a:gd name="connsiteY5" fmla="*/ 653806 h 2816656"/>
                      <a:gd name="connsiteX6" fmla="*/ 2207720 w 2207720"/>
                      <a:gd name="connsiteY6" fmla="*/ 1373906 h 2816656"/>
                      <a:gd name="connsiteX7" fmla="*/ 2207720 w 2207720"/>
                      <a:gd name="connsiteY7" fmla="*/ 1445916 h 2816656"/>
                      <a:gd name="connsiteX8" fmla="*/ 1545609 w 2207720"/>
                      <a:gd name="connsiteY8" fmla="*/ 1733956 h 2816656"/>
                      <a:gd name="connsiteX9" fmla="*/ 2207720 w 2207720"/>
                      <a:gd name="connsiteY9" fmla="*/ 2021996 h 2816656"/>
                      <a:gd name="connsiteX10" fmla="*/ 2195626 w 2207720"/>
                      <a:gd name="connsiteY10" fmla="*/ 2814106 h 2816656"/>
                      <a:gd name="connsiteX11" fmla="*/ 2193701 w 2207720"/>
                      <a:gd name="connsiteY11" fmla="*/ 2814106 h 2816656"/>
                      <a:gd name="connsiteX12" fmla="*/ 1401589 w 2207720"/>
                      <a:gd name="connsiteY12" fmla="*/ 2814106 h 2816656"/>
                      <a:gd name="connsiteX13" fmla="*/ 1113553 w 2207720"/>
                      <a:gd name="connsiteY13" fmla="*/ 2096167 h 2816656"/>
                      <a:gd name="connsiteX14" fmla="*/ 825509 w 2207720"/>
                      <a:gd name="connsiteY14" fmla="*/ 2816656 h 2816656"/>
                      <a:gd name="connsiteX15" fmla="*/ 33401 w 2207720"/>
                      <a:gd name="connsiteY15" fmla="*/ 2814106 h 2816656"/>
                      <a:gd name="connsiteX16" fmla="*/ 30918 w 2207720"/>
                      <a:gd name="connsiteY16" fmla="*/ 1883795 h 2816656"/>
                      <a:gd name="connsiteX17" fmla="*/ 38920 w 2207720"/>
                      <a:gd name="connsiteY17" fmla="*/ 1247194 h 2816656"/>
                      <a:gd name="connsiteX18" fmla="*/ 33401 w 2207720"/>
                      <a:gd name="connsiteY18" fmla="*/ 653806 h 2816656"/>
                      <a:gd name="connsiteX0" fmla="*/ 33401 w 2207720"/>
                      <a:gd name="connsiteY0" fmla="*/ 653806 h 2816656"/>
                      <a:gd name="connsiteX1" fmla="*/ 239333 w 2207720"/>
                      <a:gd name="connsiteY1" fmla="*/ 653232 h 2816656"/>
                      <a:gd name="connsiteX2" fmla="*/ 825514 w 2207720"/>
                      <a:gd name="connsiteY2" fmla="*/ 653806 h 2816656"/>
                      <a:gd name="connsiteX3" fmla="*/ 1127569 w 2207720"/>
                      <a:gd name="connsiteY3" fmla="*/ 0 h 2816656"/>
                      <a:gd name="connsiteX4" fmla="*/ 1415612 w 2207720"/>
                      <a:gd name="connsiteY4" fmla="*/ 662108 h 2816656"/>
                      <a:gd name="connsiteX5" fmla="*/ 2193701 w 2207720"/>
                      <a:gd name="connsiteY5" fmla="*/ 653806 h 2816656"/>
                      <a:gd name="connsiteX6" fmla="*/ 2207720 w 2207720"/>
                      <a:gd name="connsiteY6" fmla="*/ 1373906 h 2816656"/>
                      <a:gd name="connsiteX7" fmla="*/ 2207720 w 2207720"/>
                      <a:gd name="connsiteY7" fmla="*/ 1445916 h 2816656"/>
                      <a:gd name="connsiteX8" fmla="*/ 1545609 w 2207720"/>
                      <a:gd name="connsiteY8" fmla="*/ 1733956 h 2816656"/>
                      <a:gd name="connsiteX9" fmla="*/ 2207720 w 2207720"/>
                      <a:gd name="connsiteY9" fmla="*/ 2021996 h 2816656"/>
                      <a:gd name="connsiteX10" fmla="*/ 2195626 w 2207720"/>
                      <a:gd name="connsiteY10" fmla="*/ 2814106 h 2816656"/>
                      <a:gd name="connsiteX11" fmla="*/ 2193701 w 2207720"/>
                      <a:gd name="connsiteY11" fmla="*/ 2814106 h 2816656"/>
                      <a:gd name="connsiteX12" fmla="*/ 1401589 w 2207720"/>
                      <a:gd name="connsiteY12" fmla="*/ 2814106 h 2816656"/>
                      <a:gd name="connsiteX13" fmla="*/ 1113553 w 2207720"/>
                      <a:gd name="connsiteY13" fmla="*/ 2096167 h 2816656"/>
                      <a:gd name="connsiteX14" fmla="*/ 825509 w 2207720"/>
                      <a:gd name="connsiteY14" fmla="*/ 2816656 h 2816656"/>
                      <a:gd name="connsiteX15" fmla="*/ 33401 w 2207720"/>
                      <a:gd name="connsiteY15" fmla="*/ 2814106 h 2816656"/>
                      <a:gd name="connsiteX16" fmla="*/ 30918 w 2207720"/>
                      <a:gd name="connsiteY16" fmla="*/ 1883795 h 2816656"/>
                      <a:gd name="connsiteX17" fmla="*/ 38920 w 2207720"/>
                      <a:gd name="connsiteY17" fmla="*/ 1247194 h 2816656"/>
                      <a:gd name="connsiteX18" fmla="*/ 33401 w 2207720"/>
                      <a:gd name="connsiteY18" fmla="*/ 653806 h 2816656"/>
                      <a:gd name="connsiteX0" fmla="*/ 104476 w 2278795"/>
                      <a:gd name="connsiteY0" fmla="*/ 653806 h 2816656"/>
                      <a:gd name="connsiteX1" fmla="*/ 310408 w 2278795"/>
                      <a:gd name="connsiteY1" fmla="*/ 653232 h 2816656"/>
                      <a:gd name="connsiteX2" fmla="*/ 896589 w 2278795"/>
                      <a:gd name="connsiteY2" fmla="*/ 653806 h 2816656"/>
                      <a:gd name="connsiteX3" fmla="*/ 1198644 w 2278795"/>
                      <a:gd name="connsiteY3" fmla="*/ 0 h 2816656"/>
                      <a:gd name="connsiteX4" fmla="*/ 1486687 w 2278795"/>
                      <a:gd name="connsiteY4" fmla="*/ 662108 h 2816656"/>
                      <a:gd name="connsiteX5" fmla="*/ 2264776 w 2278795"/>
                      <a:gd name="connsiteY5" fmla="*/ 653806 h 2816656"/>
                      <a:gd name="connsiteX6" fmla="*/ 2278795 w 2278795"/>
                      <a:gd name="connsiteY6" fmla="*/ 1373906 h 2816656"/>
                      <a:gd name="connsiteX7" fmla="*/ 2278795 w 2278795"/>
                      <a:gd name="connsiteY7" fmla="*/ 1445916 h 2816656"/>
                      <a:gd name="connsiteX8" fmla="*/ 1616684 w 2278795"/>
                      <a:gd name="connsiteY8" fmla="*/ 1733956 h 2816656"/>
                      <a:gd name="connsiteX9" fmla="*/ 2278795 w 2278795"/>
                      <a:gd name="connsiteY9" fmla="*/ 2021996 h 2816656"/>
                      <a:gd name="connsiteX10" fmla="*/ 2266701 w 2278795"/>
                      <a:gd name="connsiteY10" fmla="*/ 2814106 h 2816656"/>
                      <a:gd name="connsiteX11" fmla="*/ 2264776 w 2278795"/>
                      <a:gd name="connsiteY11" fmla="*/ 2814106 h 2816656"/>
                      <a:gd name="connsiteX12" fmla="*/ 1472664 w 2278795"/>
                      <a:gd name="connsiteY12" fmla="*/ 2814106 h 2816656"/>
                      <a:gd name="connsiteX13" fmla="*/ 1184628 w 2278795"/>
                      <a:gd name="connsiteY13" fmla="*/ 2096167 h 2816656"/>
                      <a:gd name="connsiteX14" fmla="*/ 896584 w 2278795"/>
                      <a:gd name="connsiteY14" fmla="*/ 2816656 h 2816656"/>
                      <a:gd name="connsiteX15" fmla="*/ 104476 w 2278795"/>
                      <a:gd name="connsiteY15" fmla="*/ 2814106 h 2816656"/>
                      <a:gd name="connsiteX16" fmla="*/ 101993 w 2278795"/>
                      <a:gd name="connsiteY16" fmla="*/ 1883795 h 2816656"/>
                      <a:gd name="connsiteX17" fmla="*/ 109995 w 2278795"/>
                      <a:gd name="connsiteY17" fmla="*/ 1247194 h 2816656"/>
                      <a:gd name="connsiteX18" fmla="*/ 104476 w 2278795"/>
                      <a:gd name="connsiteY18" fmla="*/ 653806 h 2816656"/>
                      <a:gd name="connsiteX0" fmla="*/ 104476 w 2278795"/>
                      <a:gd name="connsiteY0" fmla="*/ 653806 h 2816656"/>
                      <a:gd name="connsiteX1" fmla="*/ 310408 w 2278795"/>
                      <a:gd name="connsiteY1" fmla="*/ 653232 h 2816656"/>
                      <a:gd name="connsiteX2" fmla="*/ 896589 w 2278795"/>
                      <a:gd name="connsiteY2" fmla="*/ 653806 h 2816656"/>
                      <a:gd name="connsiteX3" fmla="*/ 1198644 w 2278795"/>
                      <a:gd name="connsiteY3" fmla="*/ 0 h 2816656"/>
                      <a:gd name="connsiteX4" fmla="*/ 1486687 w 2278795"/>
                      <a:gd name="connsiteY4" fmla="*/ 662108 h 2816656"/>
                      <a:gd name="connsiteX5" fmla="*/ 2264776 w 2278795"/>
                      <a:gd name="connsiteY5" fmla="*/ 653806 h 2816656"/>
                      <a:gd name="connsiteX6" fmla="*/ 2278795 w 2278795"/>
                      <a:gd name="connsiteY6" fmla="*/ 1373906 h 2816656"/>
                      <a:gd name="connsiteX7" fmla="*/ 2278795 w 2278795"/>
                      <a:gd name="connsiteY7" fmla="*/ 1445916 h 2816656"/>
                      <a:gd name="connsiteX8" fmla="*/ 1616684 w 2278795"/>
                      <a:gd name="connsiteY8" fmla="*/ 1733956 h 2816656"/>
                      <a:gd name="connsiteX9" fmla="*/ 2278795 w 2278795"/>
                      <a:gd name="connsiteY9" fmla="*/ 2021996 h 2816656"/>
                      <a:gd name="connsiteX10" fmla="*/ 2266701 w 2278795"/>
                      <a:gd name="connsiteY10" fmla="*/ 2814106 h 2816656"/>
                      <a:gd name="connsiteX11" fmla="*/ 2264776 w 2278795"/>
                      <a:gd name="connsiteY11" fmla="*/ 2814106 h 2816656"/>
                      <a:gd name="connsiteX12" fmla="*/ 1472664 w 2278795"/>
                      <a:gd name="connsiteY12" fmla="*/ 2814106 h 2816656"/>
                      <a:gd name="connsiteX13" fmla="*/ 1184628 w 2278795"/>
                      <a:gd name="connsiteY13" fmla="*/ 2096167 h 2816656"/>
                      <a:gd name="connsiteX14" fmla="*/ 896584 w 2278795"/>
                      <a:gd name="connsiteY14" fmla="*/ 2816656 h 2816656"/>
                      <a:gd name="connsiteX15" fmla="*/ 104476 w 2278795"/>
                      <a:gd name="connsiteY15" fmla="*/ 2814106 h 2816656"/>
                      <a:gd name="connsiteX16" fmla="*/ 101993 w 2278795"/>
                      <a:gd name="connsiteY16" fmla="*/ 1883795 h 2816656"/>
                      <a:gd name="connsiteX17" fmla="*/ 109995 w 2278795"/>
                      <a:gd name="connsiteY17" fmla="*/ 1247194 h 2816656"/>
                      <a:gd name="connsiteX18" fmla="*/ 104476 w 2278795"/>
                      <a:gd name="connsiteY18" fmla="*/ 653806 h 2816656"/>
                      <a:gd name="connsiteX0" fmla="*/ 2766 w 2177085"/>
                      <a:gd name="connsiteY0" fmla="*/ 653806 h 2816656"/>
                      <a:gd name="connsiteX1" fmla="*/ 208698 w 2177085"/>
                      <a:gd name="connsiteY1" fmla="*/ 653232 h 2816656"/>
                      <a:gd name="connsiteX2" fmla="*/ 794879 w 2177085"/>
                      <a:gd name="connsiteY2" fmla="*/ 653806 h 2816656"/>
                      <a:gd name="connsiteX3" fmla="*/ 1096934 w 2177085"/>
                      <a:gd name="connsiteY3" fmla="*/ 0 h 2816656"/>
                      <a:gd name="connsiteX4" fmla="*/ 1384977 w 2177085"/>
                      <a:gd name="connsiteY4" fmla="*/ 662108 h 2816656"/>
                      <a:gd name="connsiteX5" fmla="*/ 2163066 w 2177085"/>
                      <a:gd name="connsiteY5" fmla="*/ 653806 h 2816656"/>
                      <a:gd name="connsiteX6" fmla="*/ 2177085 w 2177085"/>
                      <a:gd name="connsiteY6" fmla="*/ 1373906 h 2816656"/>
                      <a:gd name="connsiteX7" fmla="*/ 2177085 w 2177085"/>
                      <a:gd name="connsiteY7" fmla="*/ 1445916 h 2816656"/>
                      <a:gd name="connsiteX8" fmla="*/ 1514974 w 2177085"/>
                      <a:gd name="connsiteY8" fmla="*/ 1733956 h 2816656"/>
                      <a:gd name="connsiteX9" fmla="*/ 2177085 w 2177085"/>
                      <a:gd name="connsiteY9" fmla="*/ 2021996 h 2816656"/>
                      <a:gd name="connsiteX10" fmla="*/ 2164991 w 2177085"/>
                      <a:gd name="connsiteY10" fmla="*/ 2814106 h 2816656"/>
                      <a:gd name="connsiteX11" fmla="*/ 2163066 w 2177085"/>
                      <a:gd name="connsiteY11" fmla="*/ 2814106 h 2816656"/>
                      <a:gd name="connsiteX12" fmla="*/ 1370954 w 2177085"/>
                      <a:gd name="connsiteY12" fmla="*/ 2814106 h 2816656"/>
                      <a:gd name="connsiteX13" fmla="*/ 1082918 w 2177085"/>
                      <a:gd name="connsiteY13" fmla="*/ 2096167 h 2816656"/>
                      <a:gd name="connsiteX14" fmla="*/ 794874 w 2177085"/>
                      <a:gd name="connsiteY14" fmla="*/ 2816656 h 2816656"/>
                      <a:gd name="connsiteX15" fmla="*/ 2766 w 2177085"/>
                      <a:gd name="connsiteY15" fmla="*/ 2814106 h 2816656"/>
                      <a:gd name="connsiteX16" fmla="*/ 283 w 2177085"/>
                      <a:gd name="connsiteY16" fmla="*/ 1883795 h 2816656"/>
                      <a:gd name="connsiteX17" fmla="*/ 8285 w 2177085"/>
                      <a:gd name="connsiteY17" fmla="*/ 1247194 h 2816656"/>
                      <a:gd name="connsiteX18" fmla="*/ 2766 w 2177085"/>
                      <a:gd name="connsiteY18" fmla="*/ 653806 h 2816656"/>
                      <a:gd name="connsiteX0" fmla="*/ 6948 w 2181267"/>
                      <a:gd name="connsiteY0" fmla="*/ 653806 h 2816656"/>
                      <a:gd name="connsiteX1" fmla="*/ 212880 w 2181267"/>
                      <a:gd name="connsiteY1" fmla="*/ 653232 h 2816656"/>
                      <a:gd name="connsiteX2" fmla="*/ 799061 w 2181267"/>
                      <a:gd name="connsiteY2" fmla="*/ 653806 h 2816656"/>
                      <a:gd name="connsiteX3" fmla="*/ 1101116 w 2181267"/>
                      <a:gd name="connsiteY3" fmla="*/ 0 h 2816656"/>
                      <a:gd name="connsiteX4" fmla="*/ 1389159 w 2181267"/>
                      <a:gd name="connsiteY4" fmla="*/ 662108 h 2816656"/>
                      <a:gd name="connsiteX5" fmla="*/ 2167248 w 2181267"/>
                      <a:gd name="connsiteY5" fmla="*/ 653806 h 2816656"/>
                      <a:gd name="connsiteX6" fmla="*/ 2181267 w 2181267"/>
                      <a:gd name="connsiteY6" fmla="*/ 1373906 h 2816656"/>
                      <a:gd name="connsiteX7" fmla="*/ 2181267 w 2181267"/>
                      <a:gd name="connsiteY7" fmla="*/ 1445916 h 2816656"/>
                      <a:gd name="connsiteX8" fmla="*/ 1519156 w 2181267"/>
                      <a:gd name="connsiteY8" fmla="*/ 1733956 h 2816656"/>
                      <a:gd name="connsiteX9" fmla="*/ 2181267 w 2181267"/>
                      <a:gd name="connsiteY9" fmla="*/ 2021996 h 2816656"/>
                      <a:gd name="connsiteX10" fmla="*/ 2169173 w 2181267"/>
                      <a:gd name="connsiteY10" fmla="*/ 2814106 h 2816656"/>
                      <a:gd name="connsiteX11" fmla="*/ 2167248 w 2181267"/>
                      <a:gd name="connsiteY11" fmla="*/ 2814106 h 2816656"/>
                      <a:gd name="connsiteX12" fmla="*/ 1375136 w 2181267"/>
                      <a:gd name="connsiteY12" fmla="*/ 2814106 h 2816656"/>
                      <a:gd name="connsiteX13" fmla="*/ 1087100 w 2181267"/>
                      <a:gd name="connsiteY13" fmla="*/ 2096167 h 2816656"/>
                      <a:gd name="connsiteX14" fmla="*/ 799056 w 2181267"/>
                      <a:gd name="connsiteY14" fmla="*/ 2816656 h 2816656"/>
                      <a:gd name="connsiteX15" fmla="*/ 6948 w 2181267"/>
                      <a:gd name="connsiteY15" fmla="*/ 2814106 h 2816656"/>
                      <a:gd name="connsiteX16" fmla="*/ 4465 w 2181267"/>
                      <a:gd name="connsiteY16" fmla="*/ 1883795 h 2816656"/>
                      <a:gd name="connsiteX17" fmla="*/ 1334 w 2181267"/>
                      <a:gd name="connsiteY17" fmla="*/ 1640784 h 2816656"/>
                      <a:gd name="connsiteX18" fmla="*/ 12467 w 2181267"/>
                      <a:gd name="connsiteY18" fmla="*/ 1247194 h 2816656"/>
                      <a:gd name="connsiteX19" fmla="*/ 6948 w 2181267"/>
                      <a:gd name="connsiteY19" fmla="*/ 653806 h 2816656"/>
                      <a:gd name="connsiteX0" fmla="*/ 3418 w 2177737"/>
                      <a:gd name="connsiteY0" fmla="*/ 653806 h 2816656"/>
                      <a:gd name="connsiteX1" fmla="*/ 209350 w 2177737"/>
                      <a:gd name="connsiteY1" fmla="*/ 653232 h 2816656"/>
                      <a:gd name="connsiteX2" fmla="*/ 795531 w 2177737"/>
                      <a:gd name="connsiteY2" fmla="*/ 653806 h 2816656"/>
                      <a:gd name="connsiteX3" fmla="*/ 1097586 w 2177737"/>
                      <a:gd name="connsiteY3" fmla="*/ 0 h 2816656"/>
                      <a:gd name="connsiteX4" fmla="*/ 1385629 w 2177737"/>
                      <a:gd name="connsiteY4" fmla="*/ 662108 h 2816656"/>
                      <a:gd name="connsiteX5" fmla="*/ 2163718 w 2177737"/>
                      <a:gd name="connsiteY5" fmla="*/ 653806 h 2816656"/>
                      <a:gd name="connsiteX6" fmla="*/ 2177737 w 2177737"/>
                      <a:gd name="connsiteY6" fmla="*/ 1373906 h 2816656"/>
                      <a:gd name="connsiteX7" fmla="*/ 2177737 w 2177737"/>
                      <a:gd name="connsiteY7" fmla="*/ 1445916 h 2816656"/>
                      <a:gd name="connsiteX8" fmla="*/ 1515626 w 2177737"/>
                      <a:gd name="connsiteY8" fmla="*/ 1733956 h 2816656"/>
                      <a:gd name="connsiteX9" fmla="*/ 2177737 w 2177737"/>
                      <a:gd name="connsiteY9" fmla="*/ 2021996 h 2816656"/>
                      <a:gd name="connsiteX10" fmla="*/ 2165643 w 2177737"/>
                      <a:gd name="connsiteY10" fmla="*/ 2814106 h 2816656"/>
                      <a:gd name="connsiteX11" fmla="*/ 2163718 w 2177737"/>
                      <a:gd name="connsiteY11" fmla="*/ 2814106 h 2816656"/>
                      <a:gd name="connsiteX12" fmla="*/ 1371606 w 2177737"/>
                      <a:gd name="connsiteY12" fmla="*/ 2814106 h 2816656"/>
                      <a:gd name="connsiteX13" fmla="*/ 1083570 w 2177737"/>
                      <a:gd name="connsiteY13" fmla="*/ 2096167 h 2816656"/>
                      <a:gd name="connsiteX14" fmla="*/ 795526 w 2177737"/>
                      <a:gd name="connsiteY14" fmla="*/ 2816656 h 2816656"/>
                      <a:gd name="connsiteX15" fmla="*/ 3418 w 2177737"/>
                      <a:gd name="connsiteY15" fmla="*/ 2814106 h 2816656"/>
                      <a:gd name="connsiteX16" fmla="*/ 935 w 2177737"/>
                      <a:gd name="connsiteY16" fmla="*/ 1883795 h 2816656"/>
                      <a:gd name="connsiteX17" fmla="*/ 674313 w 2177737"/>
                      <a:gd name="connsiteY17" fmla="*/ 1667396 h 2816656"/>
                      <a:gd name="connsiteX18" fmla="*/ 8937 w 2177737"/>
                      <a:gd name="connsiteY18" fmla="*/ 1247194 h 2816656"/>
                      <a:gd name="connsiteX19" fmla="*/ 3418 w 2177737"/>
                      <a:gd name="connsiteY19" fmla="*/ 653806 h 2816656"/>
                      <a:gd name="connsiteX0" fmla="*/ 3418 w 2177737"/>
                      <a:gd name="connsiteY0" fmla="*/ 653806 h 2816656"/>
                      <a:gd name="connsiteX1" fmla="*/ 209350 w 2177737"/>
                      <a:gd name="connsiteY1" fmla="*/ 653232 h 2816656"/>
                      <a:gd name="connsiteX2" fmla="*/ 795531 w 2177737"/>
                      <a:gd name="connsiteY2" fmla="*/ 653806 h 2816656"/>
                      <a:gd name="connsiteX3" fmla="*/ 1097586 w 2177737"/>
                      <a:gd name="connsiteY3" fmla="*/ 0 h 2816656"/>
                      <a:gd name="connsiteX4" fmla="*/ 1385629 w 2177737"/>
                      <a:gd name="connsiteY4" fmla="*/ 662108 h 2816656"/>
                      <a:gd name="connsiteX5" fmla="*/ 2163718 w 2177737"/>
                      <a:gd name="connsiteY5" fmla="*/ 653806 h 2816656"/>
                      <a:gd name="connsiteX6" fmla="*/ 2177737 w 2177737"/>
                      <a:gd name="connsiteY6" fmla="*/ 1373906 h 2816656"/>
                      <a:gd name="connsiteX7" fmla="*/ 2177737 w 2177737"/>
                      <a:gd name="connsiteY7" fmla="*/ 1445916 h 2816656"/>
                      <a:gd name="connsiteX8" fmla="*/ 1515626 w 2177737"/>
                      <a:gd name="connsiteY8" fmla="*/ 1733956 h 2816656"/>
                      <a:gd name="connsiteX9" fmla="*/ 2177737 w 2177737"/>
                      <a:gd name="connsiteY9" fmla="*/ 2021996 h 2816656"/>
                      <a:gd name="connsiteX10" fmla="*/ 2165643 w 2177737"/>
                      <a:gd name="connsiteY10" fmla="*/ 2814106 h 2816656"/>
                      <a:gd name="connsiteX11" fmla="*/ 2163718 w 2177737"/>
                      <a:gd name="connsiteY11" fmla="*/ 2814106 h 2816656"/>
                      <a:gd name="connsiteX12" fmla="*/ 1371606 w 2177737"/>
                      <a:gd name="connsiteY12" fmla="*/ 2814106 h 2816656"/>
                      <a:gd name="connsiteX13" fmla="*/ 1083570 w 2177737"/>
                      <a:gd name="connsiteY13" fmla="*/ 2096167 h 2816656"/>
                      <a:gd name="connsiteX14" fmla="*/ 795526 w 2177737"/>
                      <a:gd name="connsiteY14" fmla="*/ 2816656 h 2816656"/>
                      <a:gd name="connsiteX15" fmla="*/ 3418 w 2177737"/>
                      <a:gd name="connsiteY15" fmla="*/ 2814106 h 2816656"/>
                      <a:gd name="connsiteX16" fmla="*/ 937 w 2177737"/>
                      <a:gd name="connsiteY16" fmla="*/ 1883795 h 2816656"/>
                      <a:gd name="connsiteX17" fmla="*/ 674313 w 2177737"/>
                      <a:gd name="connsiteY17" fmla="*/ 1667396 h 2816656"/>
                      <a:gd name="connsiteX18" fmla="*/ 8937 w 2177737"/>
                      <a:gd name="connsiteY18" fmla="*/ 1247194 h 2816656"/>
                      <a:gd name="connsiteX19" fmla="*/ 3418 w 2177737"/>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8837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8837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8837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234597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234597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234597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234597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234597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8837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8837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941044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941044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85085" h="2816656">
                        <a:moveTo>
                          <a:pt x="10766" y="653806"/>
                        </a:moveTo>
                        <a:cubicBezTo>
                          <a:pt x="79410" y="653615"/>
                          <a:pt x="15547" y="649697"/>
                          <a:pt x="216698" y="653232"/>
                        </a:cubicBezTo>
                        <a:lnTo>
                          <a:pt x="802879" y="653806"/>
                        </a:lnTo>
                        <a:cubicBezTo>
                          <a:pt x="965671" y="469129"/>
                          <a:pt x="444952" y="71335"/>
                          <a:pt x="1104934" y="0"/>
                        </a:cubicBezTo>
                        <a:cubicBezTo>
                          <a:pt x="1703935" y="26685"/>
                          <a:pt x="1349387" y="422718"/>
                          <a:pt x="1392977" y="662108"/>
                        </a:cubicBezTo>
                        <a:lnTo>
                          <a:pt x="2171066" y="653806"/>
                        </a:lnTo>
                        <a:lnTo>
                          <a:pt x="2185085" y="1373906"/>
                        </a:lnTo>
                        <a:lnTo>
                          <a:pt x="2185085" y="1445916"/>
                        </a:lnTo>
                        <a:cubicBezTo>
                          <a:pt x="2077879" y="1637932"/>
                          <a:pt x="1566317" y="1077840"/>
                          <a:pt x="1522974" y="1733956"/>
                        </a:cubicBezTo>
                        <a:cubicBezTo>
                          <a:pt x="1580298" y="2358162"/>
                          <a:pt x="2026080" y="1937031"/>
                          <a:pt x="2185085" y="2021996"/>
                        </a:cubicBezTo>
                        <a:cubicBezTo>
                          <a:pt x="2184833" y="2317166"/>
                          <a:pt x="2177022" y="2526066"/>
                          <a:pt x="2172991" y="2814106"/>
                        </a:cubicBezTo>
                        <a:cubicBezTo>
                          <a:pt x="2172990" y="2806363"/>
                          <a:pt x="2185085" y="1988562"/>
                          <a:pt x="2171066" y="2814106"/>
                        </a:cubicBezTo>
                        <a:lnTo>
                          <a:pt x="1378954" y="2814106"/>
                        </a:lnTo>
                        <a:cubicBezTo>
                          <a:pt x="1278507" y="2814106"/>
                          <a:pt x="1707715" y="2098327"/>
                          <a:pt x="1090918" y="2096167"/>
                        </a:cubicBezTo>
                        <a:cubicBezTo>
                          <a:pt x="463980" y="2103807"/>
                          <a:pt x="894454" y="2816656"/>
                          <a:pt x="802874" y="2816656"/>
                        </a:cubicBezTo>
                        <a:lnTo>
                          <a:pt x="10766" y="2814106"/>
                        </a:lnTo>
                        <a:cubicBezTo>
                          <a:pt x="9938" y="2504002"/>
                          <a:pt x="9113" y="2410299"/>
                          <a:pt x="8285" y="2100195"/>
                        </a:cubicBezTo>
                        <a:cubicBezTo>
                          <a:pt x="180335" y="1749817"/>
                          <a:pt x="677775" y="2422799"/>
                          <a:pt x="681661" y="1667396"/>
                        </a:cubicBezTo>
                        <a:cubicBezTo>
                          <a:pt x="657364" y="995490"/>
                          <a:pt x="138929" y="1691080"/>
                          <a:pt x="8285" y="1450996"/>
                        </a:cubicBezTo>
                        <a:cubicBezTo>
                          <a:pt x="0" y="873878"/>
                          <a:pt x="15832" y="1230020"/>
                          <a:pt x="10766" y="653806"/>
                        </a:cubicBez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19" name="Freihandform 118"/>
                  <p:cNvSpPr/>
                  <p:nvPr/>
                </p:nvSpPr>
                <p:spPr>
                  <a:xfrm rot="10800000">
                    <a:off x="5243998" y="2050804"/>
                    <a:ext cx="2174318" cy="3528489"/>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4319" h="3528490">
                        <a:moveTo>
                          <a:pt x="0" y="717940"/>
                        </a:moveTo>
                        <a:lnTo>
                          <a:pt x="792113" y="717940"/>
                        </a:lnTo>
                        <a:cubicBezTo>
                          <a:pt x="893363" y="632383"/>
                          <a:pt x="421647" y="35191"/>
                          <a:pt x="1080152" y="0"/>
                        </a:cubicBezTo>
                        <a:cubicBezTo>
                          <a:pt x="1668886" y="80045"/>
                          <a:pt x="1276924" y="516202"/>
                          <a:pt x="1382211" y="726242"/>
                        </a:cubicBezTo>
                        <a:lnTo>
                          <a:pt x="2160300" y="717940"/>
                        </a:lnTo>
                        <a:lnTo>
                          <a:pt x="2174319" y="1438040"/>
                        </a:lnTo>
                        <a:lnTo>
                          <a:pt x="2174319" y="1510050"/>
                        </a:lnTo>
                        <a:cubicBezTo>
                          <a:pt x="2067113" y="1702066"/>
                          <a:pt x="1555551" y="1141974"/>
                          <a:pt x="1512208" y="1798090"/>
                        </a:cubicBezTo>
                        <a:cubicBezTo>
                          <a:pt x="1569532" y="2422296"/>
                          <a:pt x="2015314" y="2001165"/>
                          <a:pt x="2174319" y="2086130"/>
                        </a:cubicBezTo>
                        <a:cubicBezTo>
                          <a:pt x="2174067" y="2381300"/>
                          <a:pt x="2166256" y="2590200"/>
                          <a:pt x="2162225" y="2878240"/>
                        </a:cubicBezTo>
                        <a:cubicBezTo>
                          <a:pt x="2162224" y="2870497"/>
                          <a:pt x="2174319" y="2052696"/>
                          <a:pt x="2160300" y="2878240"/>
                        </a:cubicBezTo>
                        <a:lnTo>
                          <a:pt x="1368188" y="2878240"/>
                        </a:lnTo>
                        <a:cubicBezTo>
                          <a:pt x="1267741" y="2878240"/>
                          <a:pt x="1696945" y="3528490"/>
                          <a:pt x="1080148" y="3526330"/>
                        </a:cubicBezTo>
                        <a:cubicBezTo>
                          <a:pt x="458508" y="3526330"/>
                          <a:pt x="883688" y="2880790"/>
                          <a:pt x="792108" y="2880790"/>
                        </a:cubicBezTo>
                        <a:lnTo>
                          <a:pt x="0" y="2878240"/>
                        </a:lnTo>
                        <a:lnTo>
                          <a:pt x="0" y="717940"/>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20" name="Freihandform 119"/>
                  <p:cNvSpPr/>
                  <p:nvPr/>
                </p:nvSpPr>
                <p:spPr>
                  <a:xfrm rot="16200000">
                    <a:off x="4922831" y="4520537"/>
                    <a:ext cx="2174318" cy="2816654"/>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2415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24298"/>
                      <a:gd name="connsiteX1" fmla="*/ 792113 w 2174319"/>
                      <a:gd name="connsiteY1" fmla="*/ 653806 h 2824298"/>
                      <a:gd name="connsiteX2" fmla="*/ 1094168 w 2174319"/>
                      <a:gd name="connsiteY2" fmla="*/ 0 h 2824298"/>
                      <a:gd name="connsiteX3" fmla="*/ 1382211 w 2174319"/>
                      <a:gd name="connsiteY3" fmla="*/ 662108 h 2824298"/>
                      <a:gd name="connsiteX4" fmla="*/ 2160300 w 2174319"/>
                      <a:gd name="connsiteY4" fmla="*/ 653806 h 2824298"/>
                      <a:gd name="connsiteX5" fmla="*/ 2174319 w 2174319"/>
                      <a:gd name="connsiteY5" fmla="*/ 1373906 h 2824298"/>
                      <a:gd name="connsiteX6" fmla="*/ 2174319 w 2174319"/>
                      <a:gd name="connsiteY6" fmla="*/ 1445916 h 2824298"/>
                      <a:gd name="connsiteX7" fmla="*/ 1512208 w 2174319"/>
                      <a:gd name="connsiteY7" fmla="*/ 1733956 h 2824298"/>
                      <a:gd name="connsiteX8" fmla="*/ 2174319 w 2174319"/>
                      <a:gd name="connsiteY8" fmla="*/ 2021996 h 2824298"/>
                      <a:gd name="connsiteX9" fmla="*/ 2162225 w 2174319"/>
                      <a:gd name="connsiteY9" fmla="*/ 2814106 h 2824298"/>
                      <a:gd name="connsiteX10" fmla="*/ 2160300 w 2174319"/>
                      <a:gd name="connsiteY10" fmla="*/ 2814106 h 2824298"/>
                      <a:gd name="connsiteX11" fmla="*/ 1368188 w 2174319"/>
                      <a:gd name="connsiteY11" fmla="*/ 2814106 h 2824298"/>
                      <a:gd name="connsiteX12" fmla="*/ 1018508 w 2174319"/>
                      <a:gd name="connsiteY12" fmla="*/ 2816658 h 2824298"/>
                      <a:gd name="connsiteX13" fmla="*/ 792108 w 2174319"/>
                      <a:gd name="connsiteY13" fmla="*/ 2816656 h 2824298"/>
                      <a:gd name="connsiteX14" fmla="*/ 0 w 2174319"/>
                      <a:gd name="connsiteY14" fmla="*/ 2814106 h 2824298"/>
                      <a:gd name="connsiteX15" fmla="*/ 0 w 2174319"/>
                      <a:gd name="connsiteY15" fmla="*/ 653806 h 2824298"/>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792108 w 2174319"/>
                      <a:gd name="connsiteY12" fmla="*/ 2816656 h 2816656"/>
                      <a:gd name="connsiteX13" fmla="*/ 0 w 2174319"/>
                      <a:gd name="connsiteY13" fmla="*/ 2814106 h 2816656"/>
                      <a:gd name="connsiteX14" fmla="*/ 0 w 2174319"/>
                      <a:gd name="connsiteY14" fmla="*/ 653806 h 281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74319" h="2816656">
                        <a:moveTo>
                          <a:pt x="0" y="653806"/>
                        </a:moveTo>
                        <a:lnTo>
                          <a:pt x="792113" y="653806"/>
                        </a:lnTo>
                        <a:cubicBezTo>
                          <a:pt x="954905" y="469129"/>
                          <a:pt x="434186" y="71335"/>
                          <a:pt x="1094168" y="0"/>
                        </a:cubicBezTo>
                        <a:cubicBezTo>
                          <a:pt x="1693169" y="26685"/>
                          <a:pt x="1338621" y="422718"/>
                          <a:pt x="1382211" y="662108"/>
                        </a:cubicBezTo>
                        <a:lnTo>
                          <a:pt x="2160300" y="653806"/>
                        </a:lnTo>
                        <a:lnTo>
                          <a:pt x="2174319" y="1373906"/>
                        </a:lnTo>
                        <a:lnTo>
                          <a:pt x="2174319" y="1445916"/>
                        </a:lnTo>
                        <a:cubicBezTo>
                          <a:pt x="2067113" y="1637932"/>
                          <a:pt x="1555551" y="1077840"/>
                          <a:pt x="1512208" y="1733956"/>
                        </a:cubicBezTo>
                        <a:cubicBezTo>
                          <a:pt x="1569532" y="2358162"/>
                          <a:pt x="2015314" y="1937031"/>
                          <a:pt x="2174319" y="2021996"/>
                        </a:cubicBezTo>
                        <a:cubicBezTo>
                          <a:pt x="2174067" y="2317166"/>
                          <a:pt x="2166256" y="2526066"/>
                          <a:pt x="2162225" y="2814106"/>
                        </a:cubicBezTo>
                        <a:cubicBezTo>
                          <a:pt x="2162224" y="2806363"/>
                          <a:pt x="2174319" y="1988562"/>
                          <a:pt x="2160300" y="2814106"/>
                        </a:cubicBezTo>
                        <a:lnTo>
                          <a:pt x="1368188" y="2814106"/>
                        </a:lnTo>
                        <a:lnTo>
                          <a:pt x="792108" y="2816656"/>
                        </a:lnTo>
                        <a:lnTo>
                          <a:pt x="0" y="2814106"/>
                        </a:lnTo>
                        <a:lnTo>
                          <a:pt x="0" y="653806"/>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21" name="Textfeld 16"/>
                  <p:cNvSpPr txBox="1"/>
                  <p:nvPr/>
                </p:nvSpPr>
                <p:spPr>
                  <a:xfrm>
                    <a:off x="5277072" y="529008"/>
                    <a:ext cx="2699681" cy="1483191"/>
                  </a:xfrm>
                  <a:prstGeom prst="rect">
                    <a:avLst/>
                  </a:prstGeom>
                  <a:noFill/>
                  <a:ln w="25400">
                    <a:noFill/>
                  </a:ln>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Comparison </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with </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market </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expectations</a:t>
                    </a:r>
                    <a:endParaRPr lang="en-US" sz="900" dirty="0">
                      <a:solidFill>
                        <a:schemeClr val="bg1"/>
                      </a:solidFill>
                      <a:latin typeface="Arial" pitchFamily="34" charset="0"/>
                      <a:cs typeface="Arial" pitchFamily="34" charset="0"/>
                    </a:endParaRPr>
                  </a:p>
                </p:txBody>
              </p:sp>
              <p:sp>
                <p:nvSpPr>
                  <p:cNvPr id="122" name="Textfeld 18"/>
                  <p:cNvSpPr txBox="1"/>
                  <p:nvPr/>
                </p:nvSpPr>
                <p:spPr>
                  <a:xfrm>
                    <a:off x="711486" y="539082"/>
                    <a:ext cx="2699680" cy="1483191"/>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Comparison </a:t>
                    </a:r>
                  </a:p>
                  <a:p>
                    <a:pPr algn="ctr"/>
                    <a:r>
                      <a:rPr lang="en-US" sz="900" dirty="0" smtClean="0">
                        <a:solidFill>
                          <a:schemeClr val="bg1"/>
                        </a:solidFill>
                        <a:latin typeface="Arial" pitchFamily="34" charset="0"/>
                        <a:cs typeface="Arial" pitchFamily="34" charset="0"/>
                      </a:rPr>
                      <a:t>with </a:t>
                    </a:r>
                  </a:p>
                  <a:p>
                    <a:pPr algn="ctr"/>
                    <a:r>
                      <a:rPr lang="en-US" sz="900" dirty="0" smtClean="0">
                        <a:solidFill>
                          <a:schemeClr val="bg1"/>
                        </a:solidFill>
                        <a:latin typeface="Arial" pitchFamily="34" charset="0"/>
                        <a:cs typeface="Arial" pitchFamily="34" charset="0"/>
                      </a:rPr>
                      <a:t>past</a:t>
                    </a:r>
                  </a:p>
                  <a:p>
                    <a:pPr algn="ctr"/>
                    <a:endParaRPr lang="en-US" sz="900" dirty="0">
                      <a:solidFill>
                        <a:schemeClr val="bg1"/>
                      </a:solidFill>
                      <a:latin typeface="Arial" pitchFamily="34" charset="0"/>
                      <a:cs typeface="Arial" pitchFamily="34" charset="0"/>
                    </a:endParaRPr>
                  </a:p>
                </p:txBody>
              </p:sp>
              <p:sp>
                <p:nvSpPr>
                  <p:cNvPr id="123" name="Textfeld 14"/>
                  <p:cNvSpPr txBox="1"/>
                  <p:nvPr/>
                </p:nvSpPr>
                <p:spPr>
                  <a:xfrm>
                    <a:off x="3200227" y="920696"/>
                    <a:ext cx="1801127" cy="847538"/>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Value </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drivers</a:t>
                    </a:r>
                    <a:endParaRPr lang="en-US" sz="900" dirty="0">
                      <a:solidFill>
                        <a:schemeClr val="bg1"/>
                      </a:solidFill>
                      <a:latin typeface="Arial" pitchFamily="34" charset="0"/>
                      <a:cs typeface="Arial" pitchFamily="34" charset="0"/>
                    </a:endParaRPr>
                  </a:p>
                </p:txBody>
              </p:sp>
              <p:sp>
                <p:nvSpPr>
                  <p:cNvPr id="124" name="Freihandform 123"/>
                  <p:cNvSpPr/>
                  <p:nvPr/>
                </p:nvSpPr>
                <p:spPr>
                  <a:xfrm rot="16200000">
                    <a:off x="3039320" y="4158309"/>
                    <a:ext cx="2174320" cy="3528491"/>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4319" h="3528490">
                        <a:moveTo>
                          <a:pt x="0" y="717940"/>
                        </a:moveTo>
                        <a:lnTo>
                          <a:pt x="792113" y="717940"/>
                        </a:lnTo>
                        <a:cubicBezTo>
                          <a:pt x="893363" y="632383"/>
                          <a:pt x="421647" y="35191"/>
                          <a:pt x="1080152" y="0"/>
                        </a:cubicBezTo>
                        <a:cubicBezTo>
                          <a:pt x="1668886" y="80045"/>
                          <a:pt x="1276924" y="516202"/>
                          <a:pt x="1382211" y="726242"/>
                        </a:cubicBezTo>
                        <a:lnTo>
                          <a:pt x="2160300" y="717940"/>
                        </a:lnTo>
                        <a:lnTo>
                          <a:pt x="2174319" y="1438040"/>
                        </a:lnTo>
                        <a:lnTo>
                          <a:pt x="2174319" y="1510050"/>
                        </a:lnTo>
                        <a:cubicBezTo>
                          <a:pt x="2067113" y="1702066"/>
                          <a:pt x="1555551" y="1141974"/>
                          <a:pt x="1512208" y="1798090"/>
                        </a:cubicBezTo>
                        <a:cubicBezTo>
                          <a:pt x="1569532" y="2422296"/>
                          <a:pt x="2015314" y="2001165"/>
                          <a:pt x="2174319" y="2086130"/>
                        </a:cubicBezTo>
                        <a:cubicBezTo>
                          <a:pt x="2174067" y="2381300"/>
                          <a:pt x="2166256" y="2590200"/>
                          <a:pt x="2162225" y="2878240"/>
                        </a:cubicBezTo>
                        <a:cubicBezTo>
                          <a:pt x="2162224" y="2870497"/>
                          <a:pt x="2174319" y="2052696"/>
                          <a:pt x="2160300" y="2878240"/>
                        </a:cubicBezTo>
                        <a:lnTo>
                          <a:pt x="1368188" y="2878240"/>
                        </a:lnTo>
                        <a:cubicBezTo>
                          <a:pt x="1267741" y="2878240"/>
                          <a:pt x="1696945" y="3528490"/>
                          <a:pt x="1080148" y="3526330"/>
                        </a:cubicBezTo>
                        <a:cubicBezTo>
                          <a:pt x="458508" y="3526330"/>
                          <a:pt x="883688" y="2880790"/>
                          <a:pt x="792108" y="2880790"/>
                        </a:cubicBezTo>
                        <a:lnTo>
                          <a:pt x="0" y="2878240"/>
                        </a:lnTo>
                        <a:lnTo>
                          <a:pt x="0" y="717940"/>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25" name="Textfeld 25"/>
                  <p:cNvSpPr txBox="1"/>
                  <p:nvPr/>
                </p:nvSpPr>
                <p:spPr>
                  <a:xfrm>
                    <a:off x="2714826" y="5582469"/>
                    <a:ext cx="2932450" cy="1165363"/>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Product/Segment/</a:t>
                    </a:r>
                  </a:p>
                  <a:p>
                    <a:pPr algn="ctr"/>
                    <a:r>
                      <a:rPr lang="en-US" sz="900" dirty="0" smtClean="0">
                        <a:solidFill>
                          <a:schemeClr val="bg1"/>
                        </a:solidFill>
                        <a:latin typeface="Arial" pitchFamily="34" charset="0"/>
                        <a:cs typeface="Arial" pitchFamily="34" charset="0"/>
                      </a:rPr>
                      <a:t>Regions mix</a:t>
                    </a:r>
                  </a:p>
                  <a:p>
                    <a:pPr algn="ctr"/>
                    <a:r>
                      <a:rPr lang="en-US" sz="900" dirty="0" smtClean="0">
                        <a:solidFill>
                          <a:schemeClr val="bg1"/>
                        </a:solidFill>
                        <a:latin typeface="Arial" pitchFamily="34" charset="0"/>
                        <a:cs typeface="Arial" pitchFamily="34" charset="0"/>
                      </a:rPr>
                      <a:t>effects</a:t>
                    </a:r>
                    <a:endParaRPr lang="en-US" sz="900" dirty="0">
                      <a:solidFill>
                        <a:schemeClr val="bg1"/>
                      </a:solidFill>
                      <a:latin typeface="Arial" pitchFamily="34" charset="0"/>
                      <a:cs typeface="Arial" pitchFamily="34" charset="0"/>
                    </a:endParaRPr>
                  </a:p>
                </p:txBody>
              </p:sp>
            </p:grpSp>
            <p:sp>
              <p:nvSpPr>
                <p:cNvPr id="114" name="Textfeld 27"/>
                <p:cNvSpPr txBox="1"/>
                <p:nvPr/>
              </p:nvSpPr>
              <p:spPr>
                <a:xfrm>
                  <a:off x="2471076" y="2414209"/>
                  <a:ext cx="2189146" cy="1483191"/>
                </a:xfrm>
                <a:prstGeom prst="rect">
                  <a:avLst/>
                </a:prstGeom>
                <a:noFill/>
              </p:spPr>
              <p:txBody>
                <a:bodyPr wrap="square" rtlCol="0" anchor="ctr">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900" dirty="0" smtClean="0">
                    <a:solidFill>
                      <a:schemeClr val="bg1"/>
                    </a:solidFill>
                  </a:endParaRPr>
                </a:p>
                <a:p>
                  <a:pPr algn="ctr"/>
                  <a:r>
                    <a:rPr lang="en-US" sz="900" dirty="0" smtClean="0">
                      <a:solidFill>
                        <a:schemeClr val="bg1"/>
                      </a:solidFill>
                    </a:rPr>
                    <a:t>Planning analysis expenditures &amp; margins</a:t>
                  </a:r>
                  <a:endParaRPr lang="en-US" sz="900" dirty="0">
                    <a:solidFill>
                      <a:schemeClr val="bg1"/>
                    </a:solidFill>
                  </a:endParaRPr>
                </a:p>
              </p:txBody>
            </p:sp>
          </p:grpSp>
          <p:sp>
            <p:nvSpPr>
              <p:cNvPr id="88" name="Freihandform 87"/>
              <p:cNvSpPr/>
              <p:nvPr/>
            </p:nvSpPr>
            <p:spPr>
              <a:xfrm rot="5400000">
                <a:off x="1171625" y="2170078"/>
                <a:ext cx="879697" cy="1165894"/>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2880789"/>
                  <a:gd name="connsiteX1" fmla="*/ 792113 w 2174319"/>
                  <a:gd name="connsiteY1" fmla="*/ 717940 h 2880789"/>
                  <a:gd name="connsiteX2" fmla="*/ 1080152 w 2174319"/>
                  <a:gd name="connsiteY2" fmla="*/ 0 h 2880789"/>
                  <a:gd name="connsiteX3" fmla="*/ 1382211 w 2174319"/>
                  <a:gd name="connsiteY3" fmla="*/ 726242 h 2880789"/>
                  <a:gd name="connsiteX4" fmla="*/ 2160300 w 2174319"/>
                  <a:gd name="connsiteY4" fmla="*/ 717940 h 2880789"/>
                  <a:gd name="connsiteX5" fmla="*/ 2174319 w 2174319"/>
                  <a:gd name="connsiteY5" fmla="*/ 1438040 h 2880789"/>
                  <a:gd name="connsiteX6" fmla="*/ 2174319 w 2174319"/>
                  <a:gd name="connsiteY6" fmla="*/ 1510050 h 2880789"/>
                  <a:gd name="connsiteX7" fmla="*/ 1512208 w 2174319"/>
                  <a:gd name="connsiteY7" fmla="*/ 1798090 h 2880789"/>
                  <a:gd name="connsiteX8" fmla="*/ 2174319 w 2174319"/>
                  <a:gd name="connsiteY8" fmla="*/ 2086130 h 2880789"/>
                  <a:gd name="connsiteX9" fmla="*/ 2162225 w 2174319"/>
                  <a:gd name="connsiteY9" fmla="*/ 2878240 h 2880789"/>
                  <a:gd name="connsiteX10" fmla="*/ 2160300 w 2174319"/>
                  <a:gd name="connsiteY10" fmla="*/ 2878240 h 2880789"/>
                  <a:gd name="connsiteX11" fmla="*/ 1368188 w 2174319"/>
                  <a:gd name="connsiteY11" fmla="*/ 2878240 h 2880789"/>
                  <a:gd name="connsiteX12" fmla="*/ 792108 w 2174319"/>
                  <a:gd name="connsiteY12" fmla="*/ 2880790 h 2880789"/>
                  <a:gd name="connsiteX13" fmla="*/ 0 w 2174319"/>
                  <a:gd name="connsiteY13" fmla="*/ 2878240 h 2880789"/>
                  <a:gd name="connsiteX14" fmla="*/ 0 w 2174319"/>
                  <a:gd name="connsiteY14" fmla="*/ 717940 h 2880789"/>
                  <a:gd name="connsiteX0" fmla="*/ 0 w 2174319"/>
                  <a:gd name="connsiteY0" fmla="*/ 201738 h 2364587"/>
                  <a:gd name="connsiteX1" fmla="*/ 792113 w 2174319"/>
                  <a:gd name="connsiteY1" fmla="*/ 201738 h 2364587"/>
                  <a:gd name="connsiteX2" fmla="*/ 1047113 w 2174319"/>
                  <a:gd name="connsiteY2" fmla="*/ 900754 h 2364587"/>
                  <a:gd name="connsiteX3" fmla="*/ 1382211 w 2174319"/>
                  <a:gd name="connsiteY3" fmla="*/ 210040 h 2364587"/>
                  <a:gd name="connsiteX4" fmla="*/ 2160300 w 2174319"/>
                  <a:gd name="connsiteY4" fmla="*/ 201738 h 2364587"/>
                  <a:gd name="connsiteX5" fmla="*/ 2174319 w 2174319"/>
                  <a:gd name="connsiteY5" fmla="*/ 921838 h 2364587"/>
                  <a:gd name="connsiteX6" fmla="*/ 2174319 w 2174319"/>
                  <a:gd name="connsiteY6" fmla="*/ 993848 h 2364587"/>
                  <a:gd name="connsiteX7" fmla="*/ 1512208 w 2174319"/>
                  <a:gd name="connsiteY7" fmla="*/ 1281888 h 2364587"/>
                  <a:gd name="connsiteX8" fmla="*/ 2174319 w 2174319"/>
                  <a:gd name="connsiteY8" fmla="*/ 1569928 h 2364587"/>
                  <a:gd name="connsiteX9" fmla="*/ 2162225 w 2174319"/>
                  <a:gd name="connsiteY9" fmla="*/ 2362038 h 2364587"/>
                  <a:gd name="connsiteX10" fmla="*/ 2160300 w 2174319"/>
                  <a:gd name="connsiteY10" fmla="*/ 2362038 h 2364587"/>
                  <a:gd name="connsiteX11" fmla="*/ 1368188 w 2174319"/>
                  <a:gd name="connsiteY11" fmla="*/ 2362038 h 2364587"/>
                  <a:gd name="connsiteX12" fmla="*/ 792108 w 2174319"/>
                  <a:gd name="connsiteY12" fmla="*/ 2364588 h 2364587"/>
                  <a:gd name="connsiteX13" fmla="*/ 0 w 2174319"/>
                  <a:gd name="connsiteY13" fmla="*/ 2362038 h 2364587"/>
                  <a:gd name="connsiteX14" fmla="*/ 0 w 2174319"/>
                  <a:gd name="connsiteY14" fmla="*/ 201738 h 2364587"/>
                  <a:gd name="connsiteX0" fmla="*/ 0 w 2174319"/>
                  <a:gd name="connsiteY0" fmla="*/ 201738 h 2364587"/>
                  <a:gd name="connsiteX1" fmla="*/ 792113 w 2174319"/>
                  <a:gd name="connsiteY1" fmla="*/ 201738 h 2364587"/>
                  <a:gd name="connsiteX2" fmla="*/ 1047113 w 2174319"/>
                  <a:gd name="connsiteY2" fmla="*/ 900754 h 2364587"/>
                  <a:gd name="connsiteX3" fmla="*/ 1382211 w 2174319"/>
                  <a:gd name="connsiteY3" fmla="*/ 210040 h 2364587"/>
                  <a:gd name="connsiteX4" fmla="*/ 2160300 w 2174319"/>
                  <a:gd name="connsiteY4" fmla="*/ 201738 h 2364587"/>
                  <a:gd name="connsiteX5" fmla="*/ 2174319 w 2174319"/>
                  <a:gd name="connsiteY5" fmla="*/ 921838 h 2364587"/>
                  <a:gd name="connsiteX6" fmla="*/ 2174319 w 2174319"/>
                  <a:gd name="connsiteY6" fmla="*/ 993848 h 2364587"/>
                  <a:gd name="connsiteX7" fmla="*/ 1512208 w 2174319"/>
                  <a:gd name="connsiteY7" fmla="*/ 1281888 h 2364587"/>
                  <a:gd name="connsiteX8" fmla="*/ 2174319 w 2174319"/>
                  <a:gd name="connsiteY8" fmla="*/ 1569928 h 2364587"/>
                  <a:gd name="connsiteX9" fmla="*/ 2162225 w 2174319"/>
                  <a:gd name="connsiteY9" fmla="*/ 2362038 h 2364587"/>
                  <a:gd name="connsiteX10" fmla="*/ 2160300 w 2174319"/>
                  <a:gd name="connsiteY10" fmla="*/ 2362038 h 2364587"/>
                  <a:gd name="connsiteX11" fmla="*/ 1368188 w 2174319"/>
                  <a:gd name="connsiteY11" fmla="*/ 2362038 h 2364587"/>
                  <a:gd name="connsiteX12" fmla="*/ 792108 w 2174319"/>
                  <a:gd name="connsiteY12" fmla="*/ 2364588 h 2364587"/>
                  <a:gd name="connsiteX13" fmla="*/ 0 w 2174319"/>
                  <a:gd name="connsiteY13" fmla="*/ 2362038 h 2364587"/>
                  <a:gd name="connsiteX14" fmla="*/ 0 w 2174319"/>
                  <a:gd name="connsiteY14" fmla="*/ 201738 h 2364587"/>
                  <a:gd name="connsiteX0" fmla="*/ 0 w 2174319"/>
                  <a:gd name="connsiteY0" fmla="*/ 201738 h 2364587"/>
                  <a:gd name="connsiteX1" fmla="*/ 792113 w 2174319"/>
                  <a:gd name="connsiteY1" fmla="*/ 201738 h 2364587"/>
                  <a:gd name="connsiteX2" fmla="*/ 1047113 w 2174319"/>
                  <a:gd name="connsiteY2" fmla="*/ 900754 h 2364587"/>
                  <a:gd name="connsiteX3" fmla="*/ 1382211 w 2174319"/>
                  <a:gd name="connsiteY3" fmla="*/ 210040 h 2364587"/>
                  <a:gd name="connsiteX4" fmla="*/ 2160300 w 2174319"/>
                  <a:gd name="connsiteY4" fmla="*/ 201738 h 2364587"/>
                  <a:gd name="connsiteX5" fmla="*/ 2174319 w 2174319"/>
                  <a:gd name="connsiteY5" fmla="*/ 921838 h 2364587"/>
                  <a:gd name="connsiteX6" fmla="*/ 2174319 w 2174319"/>
                  <a:gd name="connsiteY6" fmla="*/ 993848 h 2364587"/>
                  <a:gd name="connsiteX7" fmla="*/ 1512208 w 2174319"/>
                  <a:gd name="connsiteY7" fmla="*/ 1281888 h 2364587"/>
                  <a:gd name="connsiteX8" fmla="*/ 2174319 w 2174319"/>
                  <a:gd name="connsiteY8" fmla="*/ 1569928 h 2364587"/>
                  <a:gd name="connsiteX9" fmla="*/ 2162225 w 2174319"/>
                  <a:gd name="connsiteY9" fmla="*/ 2362038 h 2364587"/>
                  <a:gd name="connsiteX10" fmla="*/ 2160300 w 2174319"/>
                  <a:gd name="connsiteY10" fmla="*/ 2362038 h 2364587"/>
                  <a:gd name="connsiteX11" fmla="*/ 1368188 w 2174319"/>
                  <a:gd name="connsiteY11" fmla="*/ 2362038 h 2364587"/>
                  <a:gd name="connsiteX12" fmla="*/ 792108 w 2174319"/>
                  <a:gd name="connsiteY12" fmla="*/ 2364588 h 2364587"/>
                  <a:gd name="connsiteX13" fmla="*/ 0 w 2174319"/>
                  <a:gd name="connsiteY13" fmla="*/ 2362038 h 2364587"/>
                  <a:gd name="connsiteX14" fmla="*/ 0 w 2174319"/>
                  <a:gd name="connsiteY14" fmla="*/ 201738 h 2364587"/>
                  <a:gd name="connsiteX0" fmla="*/ 0 w 2174319"/>
                  <a:gd name="connsiteY0" fmla="*/ 258973 h 2421822"/>
                  <a:gd name="connsiteX1" fmla="*/ 792113 w 2174319"/>
                  <a:gd name="connsiteY1" fmla="*/ 258973 h 2421822"/>
                  <a:gd name="connsiteX2" fmla="*/ 1047113 w 2174319"/>
                  <a:gd name="connsiteY2" fmla="*/ 957989 h 2421822"/>
                  <a:gd name="connsiteX3" fmla="*/ 1382211 w 2174319"/>
                  <a:gd name="connsiteY3" fmla="*/ 267275 h 2421822"/>
                  <a:gd name="connsiteX4" fmla="*/ 2160300 w 2174319"/>
                  <a:gd name="connsiteY4" fmla="*/ 258973 h 2421822"/>
                  <a:gd name="connsiteX5" fmla="*/ 2174319 w 2174319"/>
                  <a:gd name="connsiteY5" fmla="*/ 979073 h 2421822"/>
                  <a:gd name="connsiteX6" fmla="*/ 2174319 w 2174319"/>
                  <a:gd name="connsiteY6" fmla="*/ 1051083 h 2421822"/>
                  <a:gd name="connsiteX7" fmla="*/ 1512208 w 2174319"/>
                  <a:gd name="connsiteY7" fmla="*/ 1339123 h 2421822"/>
                  <a:gd name="connsiteX8" fmla="*/ 2174319 w 2174319"/>
                  <a:gd name="connsiteY8" fmla="*/ 1627163 h 2421822"/>
                  <a:gd name="connsiteX9" fmla="*/ 2162225 w 2174319"/>
                  <a:gd name="connsiteY9" fmla="*/ 2419273 h 2421822"/>
                  <a:gd name="connsiteX10" fmla="*/ 2160300 w 2174319"/>
                  <a:gd name="connsiteY10" fmla="*/ 2419273 h 2421822"/>
                  <a:gd name="connsiteX11" fmla="*/ 1368188 w 2174319"/>
                  <a:gd name="connsiteY11" fmla="*/ 2419273 h 2421822"/>
                  <a:gd name="connsiteX12" fmla="*/ 792108 w 2174319"/>
                  <a:gd name="connsiteY12" fmla="*/ 2421823 h 2421822"/>
                  <a:gd name="connsiteX13" fmla="*/ 0 w 2174319"/>
                  <a:gd name="connsiteY13" fmla="*/ 2419273 h 2421822"/>
                  <a:gd name="connsiteX14" fmla="*/ 0 w 2174319"/>
                  <a:gd name="connsiteY14" fmla="*/ 258973 h 2421822"/>
                  <a:gd name="connsiteX0" fmla="*/ 0 w 2174319"/>
                  <a:gd name="connsiteY0" fmla="*/ 125596 h 2288445"/>
                  <a:gd name="connsiteX1" fmla="*/ 792113 w 2174319"/>
                  <a:gd name="connsiteY1" fmla="*/ 125596 h 2288445"/>
                  <a:gd name="connsiteX2" fmla="*/ 1047113 w 2174319"/>
                  <a:gd name="connsiteY2" fmla="*/ 824612 h 2288445"/>
                  <a:gd name="connsiteX3" fmla="*/ 1382211 w 2174319"/>
                  <a:gd name="connsiteY3" fmla="*/ 133898 h 2288445"/>
                  <a:gd name="connsiteX4" fmla="*/ 2160300 w 2174319"/>
                  <a:gd name="connsiteY4" fmla="*/ 125596 h 2288445"/>
                  <a:gd name="connsiteX5" fmla="*/ 2174319 w 2174319"/>
                  <a:gd name="connsiteY5" fmla="*/ 845696 h 2288445"/>
                  <a:gd name="connsiteX6" fmla="*/ 2174319 w 2174319"/>
                  <a:gd name="connsiteY6" fmla="*/ 917706 h 2288445"/>
                  <a:gd name="connsiteX7" fmla="*/ 1512208 w 2174319"/>
                  <a:gd name="connsiteY7" fmla="*/ 1205746 h 2288445"/>
                  <a:gd name="connsiteX8" fmla="*/ 2174319 w 2174319"/>
                  <a:gd name="connsiteY8" fmla="*/ 1493786 h 2288445"/>
                  <a:gd name="connsiteX9" fmla="*/ 2162225 w 2174319"/>
                  <a:gd name="connsiteY9" fmla="*/ 2285896 h 2288445"/>
                  <a:gd name="connsiteX10" fmla="*/ 2160300 w 2174319"/>
                  <a:gd name="connsiteY10" fmla="*/ 2285896 h 2288445"/>
                  <a:gd name="connsiteX11" fmla="*/ 1368188 w 2174319"/>
                  <a:gd name="connsiteY11" fmla="*/ 2285896 h 2288445"/>
                  <a:gd name="connsiteX12" fmla="*/ 792108 w 2174319"/>
                  <a:gd name="connsiteY12" fmla="*/ 2288446 h 2288445"/>
                  <a:gd name="connsiteX13" fmla="*/ 0 w 2174319"/>
                  <a:gd name="connsiteY13" fmla="*/ 2285896 h 2288445"/>
                  <a:gd name="connsiteX14" fmla="*/ 0 w 2174319"/>
                  <a:gd name="connsiteY14" fmla="*/ 125596 h 2288445"/>
                  <a:gd name="connsiteX0" fmla="*/ 0 w 2174319"/>
                  <a:gd name="connsiteY0" fmla="*/ 125596 h 2288445"/>
                  <a:gd name="connsiteX1" fmla="*/ 792113 w 2174319"/>
                  <a:gd name="connsiteY1" fmla="*/ 125596 h 2288445"/>
                  <a:gd name="connsiteX2" fmla="*/ 1047113 w 2174319"/>
                  <a:gd name="connsiteY2" fmla="*/ 824612 h 2288445"/>
                  <a:gd name="connsiteX3" fmla="*/ 1382211 w 2174319"/>
                  <a:gd name="connsiteY3" fmla="*/ 133898 h 2288445"/>
                  <a:gd name="connsiteX4" fmla="*/ 2160300 w 2174319"/>
                  <a:gd name="connsiteY4" fmla="*/ 125596 h 2288445"/>
                  <a:gd name="connsiteX5" fmla="*/ 2174319 w 2174319"/>
                  <a:gd name="connsiteY5" fmla="*/ 845696 h 2288445"/>
                  <a:gd name="connsiteX6" fmla="*/ 2174319 w 2174319"/>
                  <a:gd name="connsiteY6" fmla="*/ 917706 h 2288445"/>
                  <a:gd name="connsiteX7" fmla="*/ 1512208 w 2174319"/>
                  <a:gd name="connsiteY7" fmla="*/ 1205746 h 2288445"/>
                  <a:gd name="connsiteX8" fmla="*/ 2174319 w 2174319"/>
                  <a:gd name="connsiteY8" fmla="*/ 1493786 h 2288445"/>
                  <a:gd name="connsiteX9" fmla="*/ 2162225 w 2174319"/>
                  <a:gd name="connsiteY9" fmla="*/ 2285896 h 2288445"/>
                  <a:gd name="connsiteX10" fmla="*/ 2160300 w 2174319"/>
                  <a:gd name="connsiteY10" fmla="*/ 2285896 h 2288445"/>
                  <a:gd name="connsiteX11" fmla="*/ 1368188 w 2174319"/>
                  <a:gd name="connsiteY11" fmla="*/ 2285896 h 2288445"/>
                  <a:gd name="connsiteX12" fmla="*/ 792108 w 2174319"/>
                  <a:gd name="connsiteY12" fmla="*/ 2288446 h 2288445"/>
                  <a:gd name="connsiteX13" fmla="*/ 0 w 2174319"/>
                  <a:gd name="connsiteY13" fmla="*/ 2285896 h 2288445"/>
                  <a:gd name="connsiteX14" fmla="*/ 0 w 2174319"/>
                  <a:gd name="connsiteY14" fmla="*/ 125596 h 2288445"/>
                  <a:gd name="connsiteX0" fmla="*/ 0 w 2174319"/>
                  <a:gd name="connsiteY0" fmla="*/ 78914 h 2241763"/>
                  <a:gd name="connsiteX1" fmla="*/ 792113 w 2174319"/>
                  <a:gd name="connsiteY1" fmla="*/ 78914 h 2241763"/>
                  <a:gd name="connsiteX2" fmla="*/ 1047113 w 2174319"/>
                  <a:gd name="connsiteY2" fmla="*/ 777930 h 2241763"/>
                  <a:gd name="connsiteX3" fmla="*/ 1382211 w 2174319"/>
                  <a:gd name="connsiteY3" fmla="*/ 87216 h 2241763"/>
                  <a:gd name="connsiteX4" fmla="*/ 2160300 w 2174319"/>
                  <a:gd name="connsiteY4" fmla="*/ 78914 h 2241763"/>
                  <a:gd name="connsiteX5" fmla="*/ 2174319 w 2174319"/>
                  <a:gd name="connsiteY5" fmla="*/ 799014 h 2241763"/>
                  <a:gd name="connsiteX6" fmla="*/ 2174319 w 2174319"/>
                  <a:gd name="connsiteY6" fmla="*/ 871024 h 2241763"/>
                  <a:gd name="connsiteX7" fmla="*/ 1512208 w 2174319"/>
                  <a:gd name="connsiteY7" fmla="*/ 1159064 h 2241763"/>
                  <a:gd name="connsiteX8" fmla="*/ 2174319 w 2174319"/>
                  <a:gd name="connsiteY8" fmla="*/ 1447104 h 2241763"/>
                  <a:gd name="connsiteX9" fmla="*/ 2162225 w 2174319"/>
                  <a:gd name="connsiteY9" fmla="*/ 2239214 h 2241763"/>
                  <a:gd name="connsiteX10" fmla="*/ 2160300 w 2174319"/>
                  <a:gd name="connsiteY10" fmla="*/ 2239214 h 2241763"/>
                  <a:gd name="connsiteX11" fmla="*/ 1368188 w 2174319"/>
                  <a:gd name="connsiteY11" fmla="*/ 2239214 h 2241763"/>
                  <a:gd name="connsiteX12" fmla="*/ 792108 w 2174319"/>
                  <a:gd name="connsiteY12" fmla="*/ 2241764 h 2241763"/>
                  <a:gd name="connsiteX13" fmla="*/ 0 w 2174319"/>
                  <a:gd name="connsiteY13" fmla="*/ 2239214 h 2241763"/>
                  <a:gd name="connsiteX14" fmla="*/ 0 w 2174319"/>
                  <a:gd name="connsiteY14" fmla="*/ 78914 h 224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74319" h="2241763">
                    <a:moveTo>
                      <a:pt x="0" y="78914"/>
                    </a:moveTo>
                    <a:lnTo>
                      <a:pt x="792113" y="78914"/>
                    </a:lnTo>
                    <a:cubicBezTo>
                      <a:pt x="1002503" y="54885"/>
                      <a:pt x="491626" y="611899"/>
                      <a:pt x="1047113" y="777930"/>
                    </a:cubicBezTo>
                    <a:cubicBezTo>
                      <a:pt x="1728579" y="701289"/>
                      <a:pt x="1107421" y="-1"/>
                      <a:pt x="1382211" y="87216"/>
                    </a:cubicBezTo>
                    <a:lnTo>
                      <a:pt x="2160300" y="78914"/>
                    </a:lnTo>
                    <a:lnTo>
                      <a:pt x="2174319" y="799014"/>
                    </a:lnTo>
                    <a:lnTo>
                      <a:pt x="2174319" y="871024"/>
                    </a:lnTo>
                    <a:cubicBezTo>
                      <a:pt x="2067113" y="1063040"/>
                      <a:pt x="1555551" y="502948"/>
                      <a:pt x="1512208" y="1159064"/>
                    </a:cubicBezTo>
                    <a:cubicBezTo>
                      <a:pt x="1569532" y="1783270"/>
                      <a:pt x="2015314" y="1362139"/>
                      <a:pt x="2174319" y="1447104"/>
                    </a:cubicBezTo>
                    <a:cubicBezTo>
                      <a:pt x="2174067" y="1742274"/>
                      <a:pt x="2166256" y="1951174"/>
                      <a:pt x="2162225" y="2239214"/>
                    </a:cubicBezTo>
                    <a:cubicBezTo>
                      <a:pt x="2162224" y="2231471"/>
                      <a:pt x="2174319" y="1413670"/>
                      <a:pt x="2160300" y="2239214"/>
                    </a:cubicBezTo>
                    <a:lnTo>
                      <a:pt x="1368188" y="2239214"/>
                    </a:lnTo>
                    <a:lnTo>
                      <a:pt x="792108" y="2241764"/>
                    </a:lnTo>
                    <a:lnTo>
                      <a:pt x="0" y="2239214"/>
                    </a:lnTo>
                    <a:lnTo>
                      <a:pt x="0" y="78914"/>
                    </a:lnTo>
                    <a:close/>
                  </a:path>
                </a:pathLst>
              </a:cu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89" name="Textfeld 27"/>
              <p:cNvSpPr txBox="1"/>
              <p:nvPr/>
            </p:nvSpPr>
            <p:spPr>
              <a:xfrm>
                <a:off x="789797" y="3395818"/>
                <a:ext cx="1622281" cy="347177"/>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rPr>
                  <a:t>Analysis </a:t>
                </a:r>
                <a:br>
                  <a:rPr lang="en-US" sz="900" dirty="0" smtClean="0">
                    <a:solidFill>
                      <a:schemeClr val="bg1"/>
                    </a:solidFill>
                  </a:rPr>
                </a:br>
                <a:r>
                  <a:rPr lang="en-US" sz="900" dirty="0" smtClean="0">
                    <a:solidFill>
                      <a:schemeClr val="bg1"/>
                    </a:solidFill>
                  </a:rPr>
                  <a:t>of past</a:t>
                </a:r>
                <a:r>
                  <a:rPr lang="en-US" sz="900" baseline="30000" dirty="0" smtClean="0">
                    <a:solidFill>
                      <a:schemeClr val="bg1"/>
                    </a:solidFill>
                  </a:rPr>
                  <a:t>(b)</a:t>
                </a:r>
                <a:endParaRPr lang="en-US" sz="900" baseline="30000" dirty="0">
                  <a:solidFill>
                    <a:schemeClr val="bg1"/>
                  </a:solidFill>
                </a:endParaRPr>
              </a:p>
            </p:txBody>
          </p:sp>
          <p:sp>
            <p:nvSpPr>
              <p:cNvPr id="90" name="Freihandform 89"/>
              <p:cNvSpPr/>
              <p:nvPr/>
            </p:nvSpPr>
            <p:spPr>
              <a:xfrm rot="10800000">
                <a:off x="2512295" y="2943105"/>
                <a:ext cx="1481830" cy="1427575"/>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1817 w 2174319"/>
                  <a:gd name="connsiteY15" fmla="*/ 2065560 h 3528490"/>
                  <a:gd name="connsiteX16" fmla="*/ 0 w 2174319"/>
                  <a:gd name="connsiteY16"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1817 w 2174319"/>
                  <a:gd name="connsiteY15" fmla="*/ 2065560 h 3528490"/>
                  <a:gd name="connsiteX16" fmla="*/ 0 w 2174319"/>
                  <a:gd name="connsiteY16" fmla="*/ 717940 h 3528490"/>
                  <a:gd name="connsiteX17" fmla="*/ 1817 w 2174319"/>
                  <a:gd name="connsiteY17" fmla="*/ 705886 h 3528490"/>
                  <a:gd name="connsiteX0" fmla="*/ 4056 w 2178375"/>
                  <a:gd name="connsiteY0" fmla="*/ 717940 h 3528490"/>
                  <a:gd name="connsiteX1" fmla="*/ 796169 w 2178375"/>
                  <a:gd name="connsiteY1" fmla="*/ 717940 h 3528490"/>
                  <a:gd name="connsiteX2" fmla="*/ 1084208 w 2178375"/>
                  <a:gd name="connsiteY2" fmla="*/ 0 h 3528490"/>
                  <a:gd name="connsiteX3" fmla="*/ 1386267 w 2178375"/>
                  <a:gd name="connsiteY3" fmla="*/ 726242 h 3528490"/>
                  <a:gd name="connsiteX4" fmla="*/ 2164356 w 2178375"/>
                  <a:gd name="connsiteY4" fmla="*/ 717940 h 3528490"/>
                  <a:gd name="connsiteX5" fmla="*/ 2178375 w 2178375"/>
                  <a:gd name="connsiteY5" fmla="*/ 1438040 h 3528490"/>
                  <a:gd name="connsiteX6" fmla="*/ 2178375 w 2178375"/>
                  <a:gd name="connsiteY6" fmla="*/ 1510050 h 3528490"/>
                  <a:gd name="connsiteX7" fmla="*/ 1516264 w 2178375"/>
                  <a:gd name="connsiteY7" fmla="*/ 1798090 h 3528490"/>
                  <a:gd name="connsiteX8" fmla="*/ 2178375 w 2178375"/>
                  <a:gd name="connsiteY8" fmla="*/ 2086130 h 3528490"/>
                  <a:gd name="connsiteX9" fmla="*/ 2166281 w 2178375"/>
                  <a:gd name="connsiteY9" fmla="*/ 2878240 h 3528490"/>
                  <a:gd name="connsiteX10" fmla="*/ 2164356 w 2178375"/>
                  <a:gd name="connsiteY10" fmla="*/ 2878240 h 3528490"/>
                  <a:gd name="connsiteX11" fmla="*/ 1372244 w 2178375"/>
                  <a:gd name="connsiteY11" fmla="*/ 2878240 h 3528490"/>
                  <a:gd name="connsiteX12" fmla="*/ 1084204 w 2178375"/>
                  <a:gd name="connsiteY12" fmla="*/ 3526330 h 3528490"/>
                  <a:gd name="connsiteX13" fmla="*/ 796164 w 2178375"/>
                  <a:gd name="connsiteY13" fmla="*/ 2880790 h 3528490"/>
                  <a:gd name="connsiteX14" fmla="*/ 4056 w 2178375"/>
                  <a:gd name="connsiteY14" fmla="*/ 2878240 h 3528490"/>
                  <a:gd name="connsiteX15" fmla="*/ 5873 w 2178375"/>
                  <a:gd name="connsiteY15" fmla="*/ 2065560 h 3528490"/>
                  <a:gd name="connsiteX16" fmla="*/ 304 w 2178375"/>
                  <a:gd name="connsiteY16" fmla="*/ 1414348 h 3528490"/>
                  <a:gd name="connsiteX17" fmla="*/ 4056 w 2178375"/>
                  <a:gd name="connsiteY17" fmla="*/ 717940 h 3528490"/>
                  <a:gd name="connsiteX18" fmla="*/ 5873 w 2178375"/>
                  <a:gd name="connsiteY18" fmla="*/ 705886 h 3528490"/>
                  <a:gd name="connsiteX19" fmla="*/ 4056 w 2178375"/>
                  <a:gd name="connsiteY19" fmla="*/ 717940 h 3528490"/>
                  <a:gd name="connsiteX0" fmla="*/ 5655 w 2179974"/>
                  <a:gd name="connsiteY0" fmla="*/ 717940 h 3528490"/>
                  <a:gd name="connsiteX1" fmla="*/ 797768 w 2179974"/>
                  <a:gd name="connsiteY1" fmla="*/ 717940 h 3528490"/>
                  <a:gd name="connsiteX2" fmla="*/ 1085807 w 2179974"/>
                  <a:gd name="connsiteY2" fmla="*/ 0 h 3528490"/>
                  <a:gd name="connsiteX3" fmla="*/ 1387866 w 2179974"/>
                  <a:gd name="connsiteY3" fmla="*/ 726242 h 3528490"/>
                  <a:gd name="connsiteX4" fmla="*/ 2165955 w 2179974"/>
                  <a:gd name="connsiteY4" fmla="*/ 717940 h 3528490"/>
                  <a:gd name="connsiteX5" fmla="*/ 2179974 w 2179974"/>
                  <a:gd name="connsiteY5" fmla="*/ 1438040 h 3528490"/>
                  <a:gd name="connsiteX6" fmla="*/ 2179974 w 2179974"/>
                  <a:gd name="connsiteY6" fmla="*/ 1510050 h 3528490"/>
                  <a:gd name="connsiteX7" fmla="*/ 1517863 w 2179974"/>
                  <a:gd name="connsiteY7" fmla="*/ 1798090 h 3528490"/>
                  <a:gd name="connsiteX8" fmla="*/ 2179974 w 2179974"/>
                  <a:gd name="connsiteY8" fmla="*/ 2086130 h 3528490"/>
                  <a:gd name="connsiteX9" fmla="*/ 2167880 w 2179974"/>
                  <a:gd name="connsiteY9" fmla="*/ 2878240 h 3528490"/>
                  <a:gd name="connsiteX10" fmla="*/ 2165955 w 2179974"/>
                  <a:gd name="connsiteY10" fmla="*/ 2878240 h 3528490"/>
                  <a:gd name="connsiteX11" fmla="*/ 1373843 w 2179974"/>
                  <a:gd name="connsiteY11" fmla="*/ 2878240 h 3528490"/>
                  <a:gd name="connsiteX12" fmla="*/ 1085803 w 2179974"/>
                  <a:gd name="connsiteY12" fmla="*/ 3526330 h 3528490"/>
                  <a:gd name="connsiteX13" fmla="*/ 797763 w 2179974"/>
                  <a:gd name="connsiteY13" fmla="*/ 2880790 h 3528490"/>
                  <a:gd name="connsiteX14" fmla="*/ 5655 w 2179974"/>
                  <a:gd name="connsiteY14" fmla="*/ 2878240 h 3528490"/>
                  <a:gd name="connsiteX15" fmla="*/ 7472 w 2179974"/>
                  <a:gd name="connsiteY15" fmla="*/ 2065560 h 3528490"/>
                  <a:gd name="connsiteX16" fmla="*/ 1903 w 2179974"/>
                  <a:gd name="connsiteY16" fmla="*/ 1414348 h 3528490"/>
                  <a:gd name="connsiteX17" fmla="*/ 5655 w 2179974"/>
                  <a:gd name="connsiteY17" fmla="*/ 717940 h 3528490"/>
                  <a:gd name="connsiteX18" fmla="*/ 7472 w 2179974"/>
                  <a:gd name="connsiteY18" fmla="*/ 705886 h 3528490"/>
                  <a:gd name="connsiteX19" fmla="*/ 5655 w 2179974"/>
                  <a:gd name="connsiteY19" fmla="*/ 717940 h 3528490"/>
                  <a:gd name="connsiteX0" fmla="*/ 10244 w 2184563"/>
                  <a:gd name="connsiteY0" fmla="*/ 717940 h 3528490"/>
                  <a:gd name="connsiteX1" fmla="*/ 802357 w 2184563"/>
                  <a:gd name="connsiteY1" fmla="*/ 717940 h 3528490"/>
                  <a:gd name="connsiteX2" fmla="*/ 1090396 w 2184563"/>
                  <a:gd name="connsiteY2" fmla="*/ 0 h 3528490"/>
                  <a:gd name="connsiteX3" fmla="*/ 1392455 w 2184563"/>
                  <a:gd name="connsiteY3" fmla="*/ 726242 h 3528490"/>
                  <a:gd name="connsiteX4" fmla="*/ 2170544 w 2184563"/>
                  <a:gd name="connsiteY4" fmla="*/ 717940 h 3528490"/>
                  <a:gd name="connsiteX5" fmla="*/ 2184563 w 2184563"/>
                  <a:gd name="connsiteY5" fmla="*/ 1438040 h 3528490"/>
                  <a:gd name="connsiteX6" fmla="*/ 2184563 w 2184563"/>
                  <a:gd name="connsiteY6" fmla="*/ 1510050 h 3528490"/>
                  <a:gd name="connsiteX7" fmla="*/ 1522452 w 2184563"/>
                  <a:gd name="connsiteY7" fmla="*/ 1798090 h 3528490"/>
                  <a:gd name="connsiteX8" fmla="*/ 2184563 w 2184563"/>
                  <a:gd name="connsiteY8" fmla="*/ 2086130 h 3528490"/>
                  <a:gd name="connsiteX9" fmla="*/ 2172469 w 2184563"/>
                  <a:gd name="connsiteY9" fmla="*/ 2878240 h 3528490"/>
                  <a:gd name="connsiteX10" fmla="*/ 2170544 w 2184563"/>
                  <a:gd name="connsiteY10" fmla="*/ 2878240 h 3528490"/>
                  <a:gd name="connsiteX11" fmla="*/ 1378432 w 2184563"/>
                  <a:gd name="connsiteY11" fmla="*/ 2878240 h 3528490"/>
                  <a:gd name="connsiteX12" fmla="*/ 1090392 w 2184563"/>
                  <a:gd name="connsiteY12" fmla="*/ 3526330 h 3528490"/>
                  <a:gd name="connsiteX13" fmla="*/ 802352 w 2184563"/>
                  <a:gd name="connsiteY13" fmla="*/ 2880790 h 3528490"/>
                  <a:gd name="connsiteX14" fmla="*/ 10244 w 2184563"/>
                  <a:gd name="connsiteY14" fmla="*/ 2878240 h 3528490"/>
                  <a:gd name="connsiteX15" fmla="*/ 12061 w 2184563"/>
                  <a:gd name="connsiteY15" fmla="*/ 2065560 h 3528490"/>
                  <a:gd name="connsiteX16" fmla="*/ 928 w 2184563"/>
                  <a:gd name="connsiteY16" fmla="*/ 1722064 h 3528490"/>
                  <a:gd name="connsiteX17" fmla="*/ 6492 w 2184563"/>
                  <a:gd name="connsiteY17" fmla="*/ 1414348 h 3528490"/>
                  <a:gd name="connsiteX18" fmla="*/ 10244 w 2184563"/>
                  <a:gd name="connsiteY18" fmla="*/ 717940 h 3528490"/>
                  <a:gd name="connsiteX19" fmla="*/ 12061 w 2184563"/>
                  <a:gd name="connsiteY19" fmla="*/ 705886 h 3528490"/>
                  <a:gd name="connsiteX20" fmla="*/ 10244 w 2184563"/>
                  <a:gd name="connsiteY20" fmla="*/ 717940 h 3528490"/>
                  <a:gd name="connsiteX0" fmla="*/ 675848 w 2850167"/>
                  <a:gd name="connsiteY0" fmla="*/ 717940 h 3528490"/>
                  <a:gd name="connsiteX1" fmla="*/ 1467961 w 2850167"/>
                  <a:gd name="connsiteY1" fmla="*/ 717940 h 3528490"/>
                  <a:gd name="connsiteX2" fmla="*/ 1756000 w 2850167"/>
                  <a:gd name="connsiteY2" fmla="*/ 0 h 3528490"/>
                  <a:gd name="connsiteX3" fmla="*/ 2058059 w 2850167"/>
                  <a:gd name="connsiteY3" fmla="*/ 726242 h 3528490"/>
                  <a:gd name="connsiteX4" fmla="*/ 2836148 w 2850167"/>
                  <a:gd name="connsiteY4" fmla="*/ 717940 h 3528490"/>
                  <a:gd name="connsiteX5" fmla="*/ 2850167 w 2850167"/>
                  <a:gd name="connsiteY5" fmla="*/ 1438040 h 3528490"/>
                  <a:gd name="connsiteX6" fmla="*/ 2850167 w 2850167"/>
                  <a:gd name="connsiteY6" fmla="*/ 1510050 h 3528490"/>
                  <a:gd name="connsiteX7" fmla="*/ 2188056 w 2850167"/>
                  <a:gd name="connsiteY7" fmla="*/ 1798090 h 3528490"/>
                  <a:gd name="connsiteX8" fmla="*/ 2850167 w 2850167"/>
                  <a:gd name="connsiteY8" fmla="*/ 2086130 h 3528490"/>
                  <a:gd name="connsiteX9" fmla="*/ 2838073 w 2850167"/>
                  <a:gd name="connsiteY9" fmla="*/ 2878240 h 3528490"/>
                  <a:gd name="connsiteX10" fmla="*/ 2836148 w 2850167"/>
                  <a:gd name="connsiteY10" fmla="*/ 2878240 h 3528490"/>
                  <a:gd name="connsiteX11" fmla="*/ 2044036 w 2850167"/>
                  <a:gd name="connsiteY11" fmla="*/ 2878240 h 3528490"/>
                  <a:gd name="connsiteX12" fmla="*/ 1755996 w 2850167"/>
                  <a:gd name="connsiteY12" fmla="*/ 3526330 h 3528490"/>
                  <a:gd name="connsiteX13" fmla="*/ 1467956 w 2850167"/>
                  <a:gd name="connsiteY13" fmla="*/ 2880790 h 3528490"/>
                  <a:gd name="connsiteX14" fmla="*/ 675848 w 2850167"/>
                  <a:gd name="connsiteY14" fmla="*/ 2878240 h 3528490"/>
                  <a:gd name="connsiteX15" fmla="*/ 677665 w 2850167"/>
                  <a:gd name="connsiteY15" fmla="*/ 2065560 h 3528490"/>
                  <a:gd name="connsiteX16" fmla="*/ 928 w 2850167"/>
                  <a:gd name="connsiteY16" fmla="*/ 1629332 h 3528490"/>
                  <a:gd name="connsiteX17" fmla="*/ 672096 w 2850167"/>
                  <a:gd name="connsiteY17" fmla="*/ 1414348 h 3528490"/>
                  <a:gd name="connsiteX18" fmla="*/ 675848 w 2850167"/>
                  <a:gd name="connsiteY18" fmla="*/ 717940 h 3528490"/>
                  <a:gd name="connsiteX19" fmla="*/ 677665 w 2850167"/>
                  <a:gd name="connsiteY19" fmla="*/ 705886 h 3528490"/>
                  <a:gd name="connsiteX20" fmla="*/ 675848 w 2850167"/>
                  <a:gd name="connsiteY20" fmla="*/ 717940 h 3528490"/>
                  <a:gd name="connsiteX0" fmla="*/ 675481 w 2849800"/>
                  <a:gd name="connsiteY0" fmla="*/ 717940 h 3528490"/>
                  <a:gd name="connsiteX1" fmla="*/ 1467594 w 2849800"/>
                  <a:gd name="connsiteY1" fmla="*/ 717940 h 3528490"/>
                  <a:gd name="connsiteX2" fmla="*/ 1755633 w 2849800"/>
                  <a:gd name="connsiteY2" fmla="*/ 0 h 3528490"/>
                  <a:gd name="connsiteX3" fmla="*/ 2057692 w 2849800"/>
                  <a:gd name="connsiteY3" fmla="*/ 726242 h 3528490"/>
                  <a:gd name="connsiteX4" fmla="*/ 2835781 w 2849800"/>
                  <a:gd name="connsiteY4" fmla="*/ 717940 h 3528490"/>
                  <a:gd name="connsiteX5" fmla="*/ 2849800 w 2849800"/>
                  <a:gd name="connsiteY5" fmla="*/ 1438040 h 3528490"/>
                  <a:gd name="connsiteX6" fmla="*/ 2849800 w 2849800"/>
                  <a:gd name="connsiteY6" fmla="*/ 1510050 h 3528490"/>
                  <a:gd name="connsiteX7" fmla="*/ 2187689 w 2849800"/>
                  <a:gd name="connsiteY7" fmla="*/ 1798090 h 3528490"/>
                  <a:gd name="connsiteX8" fmla="*/ 2849800 w 2849800"/>
                  <a:gd name="connsiteY8" fmla="*/ 2086130 h 3528490"/>
                  <a:gd name="connsiteX9" fmla="*/ 2837706 w 2849800"/>
                  <a:gd name="connsiteY9" fmla="*/ 2878240 h 3528490"/>
                  <a:gd name="connsiteX10" fmla="*/ 2835781 w 2849800"/>
                  <a:gd name="connsiteY10" fmla="*/ 2878240 h 3528490"/>
                  <a:gd name="connsiteX11" fmla="*/ 2043669 w 2849800"/>
                  <a:gd name="connsiteY11" fmla="*/ 2878240 h 3528490"/>
                  <a:gd name="connsiteX12" fmla="*/ 1755629 w 2849800"/>
                  <a:gd name="connsiteY12" fmla="*/ 3526330 h 3528490"/>
                  <a:gd name="connsiteX13" fmla="*/ 1467589 w 2849800"/>
                  <a:gd name="connsiteY13" fmla="*/ 2880790 h 3528490"/>
                  <a:gd name="connsiteX14" fmla="*/ 675481 w 2849800"/>
                  <a:gd name="connsiteY14" fmla="*/ 2878240 h 3528490"/>
                  <a:gd name="connsiteX15" fmla="*/ 677298 w 2849800"/>
                  <a:gd name="connsiteY15" fmla="*/ 2065560 h 3528490"/>
                  <a:gd name="connsiteX16" fmla="*/ 561 w 2849800"/>
                  <a:gd name="connsiteY16" fmla="*/ 1629332 h 3528490"/>
                  <a:gd name="connsiteX17" fmla="*/ 673936 w 2849800"/>
                  <a:gd name="connsiteY17" fmla="*/ 1412932 h 3528490"/>
                  <a:gd name="connsiteX18" fmla="*/ 675481 w 2849800"/>
                  <a:gd name="connsiteY18" fmla="*/ 717940 h 3528490"/>
                  <a:gd name="connsiteX19" fmla="*/ 677298 w 2849800"/>
                  <a:gd name="connsiteY19" fmla="*/ 705886 h 3528490"/>
                  <a:gd name="connsiteX20" fmla="*/ 675481 w 2849800"/>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062131 h 3528490"/>
                  <a:gd name="connsiteX16" fmla="*/ 0 w 2849239"/>
                  <a:gd name="connsiteY16" fmla="*/ 1629332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062131 h 3528490"/>
                  <a:gd name="connsiteX16" fmla="*/ 0 w 2849239"/>
                  <a:gd name="connsiteY16" fmla="*/ 1629332 h 3528490"/>
                  <a:gd name="connsiteX17" fmla="*/ 673375 w 2849239"/>
                  <a:gd name="connsiteY17" fmla="*/ 1196533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278531 h 3528490"/>
                  <a:gd name="connsiteX16" fmla="*/ 0 w 2849239"/>
                  <a:gd name="connsiteY16" fmla="*/ 1629332 h 3528490"/>
                  <a:gd name="connsiteX17" fmla="*/ 673375 w 2849239"/>
                  <a:gd name="connsiteY17" fmla="*/ 1196533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278531 h 3528490"/>
                  <a:gd name="connsiteX16" fmla="*/ 0 w 2849239"/>
                  <a:gd name="connsiteY16" fmla="*/ 1629332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278531 h 3528490"/>
                  <a:gd name="connsiteX16" fmla="*/ 0 w 2849239"/>
                  <a:gd name="connsiteY16" fmla="*/ 1845731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278531 h 3528490"/>
                  <a:gd name="connsiteX16" fmla="*/ 0 w 2849239"/>
                  <a:gd name="connsiteY16" fmla="*/ 1845731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82922 w 2857241"/>
                  <a:gd name="connsiteY0" fmla="*/ 717940 h 3528490"/>
                  <a:gd name="connsiteX1" fmla="*/ 1475035 w 2857241"/>
                  <a:gd name="connsiteY1" fmla="*/ 717940 h 3528490"/>
                  <a:gd name="connsiteX2" fmla="*/ 1763074 w 2857241"/>
                  <a:gd name="connsiteY2" fmla="*/ 0 h 3528490"/>
                  <a:gd name="connsiteX3" fmla="*/ 2065133 w 2857241"/>
                  <a:gd name="connsiteY3" fmla="*/ 726242 h 3528490"/>
                  <a:gd name="connsiteX4" fmla="*/ 2843222 w 2857241"/>
                  <a:gd name="connsiteY4" fmla="*/ 717940 h 3528490"/>
                  <a:gd name="connsiteX5" fmla="*/ 2857241 w 2857241"/>
                  <a:gd name="connsiteY5" fmla="*/ 1438040 h 3528490"/>
                  <a:gd name="connsiteX6" fmla="*/ 2857241 w 2857241"/>
                  <a:gd name="connsiteY6" fmla="*/ 1510050 h 3528490"/>
                  <a:gd name="connsiteX7" fmla="*/ 2195130 w 2857241"/>
                  <a:gd name="connsiteY7" fmla="*/ 1798090 h 3528490"/>
                  <a:gd name="connsiteX8" fmla="*/ 2857241 w 2857241"/>
                  <a:gd name="connsiteY8" fmla="*/ 2086130 h 3528490"/>
                  <a:gd name="connsiteX9" fmla="*/ 2845147 w 2857241"/>
                  <a:gd name="connsiteY9" fmla="*/ 2878240 h 3528490"/>
                  <a:gd name="connsiteX10" fmla="*/ 2843222 w 2857241"/>
                  <a:gd name="connsiteY10" fmla="*/ 2878240 h 3528490"/>
                  <a:gd name="connsiteX11" fmla="*/ 2051110 w 2857241"/>
                  <a:gd name="connsiteY11" fmla="*/ 2878240 h 3528490"/>
                  <a:gd name="connsiteX12" fmla="*/ 1763070 w 2857241"/>
                  <a:gd name="connsiteY12" fmla="*/ 3526330 h 3528490"/>
                  <a:gd name="connsiteX13" fmla="*/ 1475030 w 2857241"/>
                  <a:gd name="connsiteY13" fmla="*/ 2880790 h 3528490"/>
                  <a:gd name="connsiteX14" fmla="*/ 682922 w 2857241"/>
                  <a:gd name="connsiteY14" fmla="*/ 2878240 h 3528490"/>
                  <a:gd name="connsiteX15" fmla="*/ 681377 w 2857241"/>
                  <a:gd name="connsiteY15" fmla="*/ 2278531 h 3528490"/>
                  <a:gd name="connsiteX16" fmla="*/ 8002 w 2857241"/>
                  <a:gd name="connsiteY16" fmla="*/ 1845731 h 3528490"/>
                  <a:gd name="connsiteX17" fmla="*/ 681377 w 2857241"/>
                  <a:gd name="connsiteY17" fmla="*/ 1412932 h 3528490"/>
                  <a:gd name="connsiteX18" fmla="*/ 682922 w 2857241"/>
                  <a:gd name="connsiteY18" fmla="*/ 717940 h 3528490"/>
                  <a:gd name="connsiteX19" fmla="*/ 684739 w 2857241"/>
                  <a:gd name="connsiteY19" fmla="*/ 705886 h 3528490"/>
                  <a:gd name="connsiteX20" fmla="*/ 682922 w 285724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6293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0621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062131 h 3528490"/>
                  <a:gd name="connsiteX16" fmla="*/ 0 w 2849239"/>
                  <a:gd name="connsiteY16" fmla="*/ 1845731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062131 h 3528490"/>
                  <a:gd name="connsiteX16" fmla="*/ 0 w 2849239"/>
                  <a:gd name="connsiteY16" fmla="*/ 1845731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49239" h="3528490">
                    <a:moveTo>
                      <a:pt x="674920" y="717940"/>
                    </a:moveTo>
                    <a:lnTo>
                      <a:pt x="1467033" y="717940"/>
                    </a:lnTo>
                    <a:cubicBezTo>
                      <a:pt x="1568283" y="632383"/>
                      <a:pt x="1096567" y="35191"/>
                      <a:pt x="1755072" y="0"/>
                    </a:cubicBezTo>
                    <a:cubicBezTo>
                      <a:pt x="2343806" y="80045"/>
                      <a:pt x="1951844" y="516202"/>
                      <a:pt x="2057131" y="726242"/>
                    </a:cubicBezTo>
                    <a:lnTo>
                      <a:pt x="2835220" y="717940"/>
                    </a:lnTo>
                    <a:lnTo>
                      <a:pt x="2849239" y="1438040"/>
                    </a:lnTo>
                    <a:lnTo>
                      <a:pt x="2849239" y="1510050"/>
                    </a:lnTo>
                    <a:cubicBezTo>
                      <a:pt x="2742033" y="1702066"/>
                      <a:pt x="2230471" y="1141974"/>
                      <a:pt x="2187128" y="1798090"/>
                    </a:cubicBezTo>
                    <a:cubicBezTo>
                      <a:pt x="2244452" y="2422296"/>
                      <a:pt x="2690234" y="2001165"/>
                      <a:pt x="2849239" y="2086130"/>
                    </a:cubicBezTo>
                    <a:cubicBezTo>
                      <a:pt x="2848987" y="2381300"/>
                      <a:pt x="2841176" y="2590200"/>
                      <a:pt x="2837145" y="2878240"/>
                    </a:cubicBezTo>
                    <a:cubicBezTo>
                      <a:pt x="2837144" y="2870497"/>
                      <a:pt x="2849239" y="2052696"/>
                      <a:pt x="2835220" y="2878240"/>
                    </a:cubicBezTo>
                    <a:lnTo>
                      <a:pt x="2043108" y="2878240"/>
                    </a:lnTo>
                    <a:cubicBezTo>
                      <a:pt x="1942661" y="2878240"/>
                      <a:pt x="2371865" y="3528490"/>
                      <a:pt x="1755068" y="3526330"/>
                    </a:cubicBezTo>
                    <a:cubicBezTo>
                      <a:pt x="1133428" y="3526330"/>
                      <a:pt x="1558608" y="2880790"/>
                      <a:pt x="1467028" y="2880790"/>
                    </a:cubicBezTo>
                    <a:lnTo>
                      <a:pt x="674920" y="2878240"/>
                    </a:lnTo>
                    <a:cubicBezTo>
                      <a:pt x="675526" y="2607347"/>
                      <a:pt x="672769" y="2333024"/>
                      <a:pt x="673375" y="2062131"/>
                    </a:cubicBezTo>
                    <a:cubicBezTo>
                      <a:pt x="671822" y="1869435"/>
                      <a:pt x="31662" y="2551233"/>
                      <a:pt x="0" y="1845731"/>
                    </a:cubicBezTo>
                    <a:cubicBezTo>
                      <a:pt x="9394" y="937988"/>
                      <a:pt x="558276" y="1730268"/>
                      <a:pt x="673375" y="1412932"/>
                    </a:cubicBezTo>
                    <a:cubicBezTo>
                      <a:pt x="673072" y="1188329"/>
                      <a:pt x="673992" y="836017"/>
                      <a:pt x="674920" y="717940"/>
                    </a:cubicBezTo>
                    <a:cubicBezTo>
                      <a:pt x="674920" y="491328"/>
                      <a:pt x="676359" y="708397"/>
                      <a:pt x="676737" y="705886"/>
                    </a:cubicBezTo>
                    <a:lnTo>
                      <a:pt x="674920" y="717940"/>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91" name="Textfeld 90"/>
              <p:cNvSpPr txBox="1"/>
              <p:nvPr/>
            </p:nvSpPr>
            <p:spPr>
              <a:xfrm>
                <a:off x="2603757" y="2357768"/>
                <a:ext cx="961275" cy="650957"/>
              </a:xfrm>
              <a:prstGeom prst="rect">
                <a:avLst/>
              </a:prstGeom>
              <a:noFill/>
            </p:spPr>
            <p:txBody>
              <a:bodyPr wrap="square" lIns="0" tIns="0" rIns="0" bIns="0" rtlCol="0">
                <a:spAutoFit/>
              </a:bodyPr>
              <a:lstStyle/>
              <a:p>
                <a:pPr algn="ctr"/>
                <a:r>
                  <a:rPr lang="en-US" sz="900" dirty="0" smtClean="0">
                    <a:solidFill>
                      <a:schemeClr val="bg1"/>
                    </a:solidFill>
                    <a:latin typeface="Arial" pitchFamily="34" charset="0"/>
                    <a:cs typeface="Arial" pitchFamily="34" charset="0"/>
                  </a:rPr>
                  <a:t>Planned/Actual comparison</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adherence to budget</a:t>
                </a:r>
                <a:r>
                  <a:rPr lang="en-US" sz="900" baseline="30000" dirty="0" smtClean="0">
                    <a:solidFill>
                      <a:schemeClr val="bg1"/>
                    </a:solidFill>
                    <a:latin typeface="Arial" pitchFamily="34" charset="0"/>
                    <a:cs typeface="Arial" pitchFamily="34" charset="0"/>
                  </a:rPr>
                  <a:t>(c)</a:t>
                </a:r>
              </a:p>
              <a:p>
                <a:pPr algn="ctr"/>
                <a:endParaRPr lang="en-US" sz="900" dirty="0">
                  <a:solidFill>
                    <a:schemeClr val="bg1"/>
                  </a:solidFill>
                  <a:latin typeface="Arial" pitchFamily="34" charset="0"/>
                  <a:cs typeface="Arial" pitchFamily="34" charset="0"/>
                </a:endParaRPr>
              </a:p>
            </p:txBody>
          </p:sp>
          <p:sp>
            <p:nvSpPr>
              <p:cNvPr id="92" name="Textfeld 91"/>
              <p:cNvSpPr txBox="1"/>
              <p:nvPr/>
            </p:nvSpPr>
            <p:spPr>
              <a:xfrm>
                <a:off x="2620163" y="4454953"/>
                <a:ext cx="963073" cy="260383"/>
              </a:xfrm>
              <a:prstGeom prst="rect">
                <a:avLst/>
              </a:prstGeom>
              <a:noFill/>
            </p:spPr>
            <p:txBody>
              <a:bodyPr wrap="square" lIns="0" tIns="0" rIns="0" bIns="0" rtlCol="0">
                <a:spAutoFit/>
              </a:bodyPr>
              <a:lstStyle/>
              <a:p>
                <a:pPr algn="ctr"/>
                <a:r>
                  <a:rPr lang="en-US" sz="900" dirty="0" smtClean="0">
                    <a:solidFill>
                      <a:schemeClr val="bg1"/>
                    </a:solidFill>
                    <a:latin typeface="Arial" pitchFamily="34" charset="0"/>
                    <a:cs typeface="Arial" pitchFamily="34" charset="0"/>
                  </a:rPr>
                  <a:t>Current</a:t>
                </a:r>
              </a:p>
              <a:p>
                <a:pPr algn="ctr"/>
                <a:r>
                  <a:rPr lang="en-US" sz="900" dirty="0" smtClean="0">
                    <a:solidFill>
                      <a:schemeClr val="bg1"/>
                    </a:solidFill>
                    <a:latin typeface="Arial" pitchFamily="34" charset="0"/>
                    <a:cs typeface="Arial" pitchFamily="34" charset="0"/>
                  </a:rPr>
                  <a:t>trading</a:t>
                </a:r>
              </a:p>
            </p:txBody>
          </p:sp>
          <p:sp>
            <p:nvSpPr>
              <p:cNvPr id="93" name="Textfeld 92"/>
              <p:cNvSpPr txBox="1"/>
              <p:nvPr/>
            </p:nvSpPr>
            <p:spPr>
              <a:xfrm>
                <a:off x="2737965" y="3556232"/>
                <a:ext cx="963073" cy="130191"/>
              </a:xfrm>
              <a:prstGeom prst="rect">
                <a:avLst/>
              </a:prstGeom>
              <a:noFill/>
            </p:spPr>
            <p:txBody>
              <a:bodyPr wrap="square" lIns="0" tIns="0" rIns="0" bIns="0" rtlCol="0">
                <a:spAutoFit/>
              </a:bodyPr>
              <a:lstStyle/>
              <a:p>
                <a:pPr algn="ctr"/>
                <a:r>
                  <a:rPr lang="en-US" sz="900" dirty="0" smtClean="0">
                    <a:solidFill>
                      <a:schemeClr val="bg1"/>
                    </a:solidFill>
                    <a:latin typeface="Arial" pitchFamily="34" charset="0"/>
                    <a:cs typeface="Arial" pitchFamily="34" charset="0"/>
                  </a:rPr>
                  <a:t>LTM</a:t>
                </a:r>
              </a:p>
            </p:txBody>
          </p:sp>
          <p:sp>
            <p:nvSpPr>
              <p:cNvPr id="111" name="Freihandform 110"/>
              <p:cNvSpPr/>
              <p:nvPr/>
            </p:nvSpPr>
            <p:spPr>
              <a:xfrm>
                <a:off x="1031784" y="4080986"/>
                <a:ext cx="1130838" cy="875057"/>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40 w 2174359"/>
                  <a:gd name="connsiteY0" fmla="*/ 0 h 2810550"/>
                  <a:gd name="connsiteX1" fmla="*/ 2160340 w 2174359"/>
                  <a:gd name="connsiteY1" fmla="*/ 0 h 2810550"/>
                  <a:gd name="connsiteX2" fmla="*/ 2174359 w 2174359"/>
                  <a:gd name="connsiteY2" fmla="*/ 720100 h 2810550"/>
                  <a:gd name="connsiteX3" fmla="*/ 2174359 w 2174359"/>
                  <a:gd name="connsiteY3" fmla="*/ 792110 h 2810550"/>
                  <a:gd name="connsiteX4" fmla="*/ 1512248 w 2174359"/>
                  <a:gd name="connsiteY4" fmla="*/ 1080150 h 2810550"/>
                  <a:gd name="connsiteX5" fmla="*/ 2174359 w 2174359"/>
                  <a:gd name="connsiteY5" fmla="*/ 1368190 h 2810550"/>
                  <a:gd name="connsiteX6" fmla="*/ 2162265 w 2174359"/>
                  <a:gd name="connsiteY6" fmla="*/ 2160300 h 2810550"/>
                  <a:gd name="connsiteX7" fmla="*/ 2160340 w 2174359"/>
                  <a:gd name="connsiteY7" fmla="*/ 2160300 h 2810550"/>
                  <a:gd name="connsiteX8" fmla="*/ 1368228 w 2174359"/>
                  <a:gd name="connsiteY8" fmla="*/ 2160300 h 2810550"/>
                  <a:gd name="connsiteX9" fmla="*/ 1080188 w 2174359"/>
                  <a:gd name="connsiteY9" fmla="*/ 2808390 h 2810550"/>
                  <a:gd name="connsiteX10" fmla="*/ 792148 w 2174359"/>
                  <a:gd name="connsiteY10" fmla="*/ 2162850 h 2810550"/>
                  <a:gd name="connsiteX11" fmla="*/ 40 w 2174359"/>
                  <a:gd name="connsiteY11" fmla="*/ 2160300 h 2810550"/>
                  <a:gd name="connsiteX12" fmla="*/ 0 w 2174359"/>
                  <a:gd name="connsiteY12" fmla="*/ 1028740 h 2810550"/>
                  <a:gd name="connsiteX13" fmla="*/ 40 w 2174359"/>
                  <a:gd name="connsiteY13" fmla="*/ 0 h 2810550"/>
                  <a:gd name="connsiteX0" fmla="*/ 40 w 2174359"/>
                  <a:gd name="connsiteY0" fmla="*/ 0 h 2810550"/>
                  <a:gd name="connsiteX1" fmla="*/ 2160340 w 2174359"/>
                  <a:gd name="connsiteY1" fmla="*/ 0 h 2810550"/>
                  <a:gd name="connsiteX2" fmla="*/ 2174359 w 2174359"/>
                  <a:gd name="connsiteY2" fmla="*/ 720100 h 2810550"/>
                  <a:gd name="connsiteX3" fmla="*/ 2174359 w 2174359"/>
                  <a:gd name="connsiteY3" fmla="*/ 792110 h 2810550"/>
                  <a:gd name="connsiteX4" fmla="*/ 1512248 w 2174359"/>
                  <a:gd name="connsiteY4" fmla="*/ 1080150 h 2810550"/>
                  <a:gd name="connsiteX5" fmla="*/ 2174359 w 2174359"/>
                  <a:gd name="connsiteY5" fmla="*/ 1368190 h 2810550"/>
                  <a:gd name="connsiteX6" fmla="*/ 2162265 w 2174359"/>
                  <a:gd name="connsiteY6" fmla="*/ 2160300 h 2810550"/>
                  <a:gd name="connsiteX7" fmla="*/ 2160340 w 2174359"/>
                  <a:gd name="connsiteY7" fmla="*/ 2160300 h 2810550"/>
                  <a:gd name="connsiteX8" fmla="*/ 1368228 w 2174359"/>
                  <a:gd name="connsiteY8" fmla="*/ 2160300 h 2810550"/>
                  <a:gd name="connsiteX9" fmla="*/ 1080188 w 2174359"/>
                  <a:gd name="connsiteY9" fmla="*/ 2808390 h 2810550"/>
                  <a:gd name="connsiteX10" fmla="*/ 792148 w 2174359"/>
                  <a:gd name="connsiteY10" fmla="*/ 2162850 h 2810550"/>
                  <a:gd name="connsiteX11" fmla="*/ 40 w 2174359"/>
                  <a:gd name="connsiteY11" fmla="*/ 2160300 h 2810550"/>
                  <a:gd name="connsiteX12" fmla="*/ 0 w 2174359"/>
                  <a:gd name="connsiteY12" fmla="*/ 1008140 h 2810550"/>
                  <a:gd name="connsiteX13" fmla="*/ 40 w 2174359"/>
                  <a:gd name="connsiteY13" fmla="*/ 0 h 2810550"/>
                  <a:gd name="connsiteX0" fmla="*/ 40 w 2174359"/>
                  <a:gd name="connsiteY0" fmla="*/ 0 h 2176480"/>
                  <a:gd name="connsiteX1" fmla="*/ 2160340 w 2174359"/>
                  <a:gd name="connsiteY1" fmla="*/ 0 h 2176480"/>
                  <a:gd name="connsiteX2" fmla="*/ 2174359 w 2174359"/>
                  <a:gd name="connsiteY2" fmla="*/ 720100 h 2176480"/>
                  <a:gd name="connsiteX3" fmla="*/ 2174359 w 2174359"/>
                  <a:gd name="connsiteY3" fmla="*/ 792110 h 2176480"/>
                  <a:gd name="connsiteX4" fmla="*/ 1512248 w 2174359"/>
                  <a:gd name="connsiteY4" fmla="*/ 1080150 h 2176480"/>
                  <a:gd name="connsiteX5" fmla="*/ 2174359 w 2174359"/>
                  <a:gd name="connsiteY5" fmla="*/ 1368190 h 2176480"/>
                  <a:gd name="connsiteX6" fmla="*/ 2162265 w 2174359"/>
                  <a:gd name="connsiteY6" fmla="*/ 2160300 h 2176480"/>
                  <a:gd name="connsiteX7" fmla="*/ 2160340 w 2174359"/>
                  <a:gd name="connsiteY7" fmla="*/ 2160300 h 2176480"/>
                  <a:gd name="connsiteX8" fmla="*/ 1368228 w 2174359"/>
                  <a:gd name="connsiteY8" fmla="*/ 2160300 h 2176480"/>
                  <a:gd name="connsiteX9" fmla="*/ 1022159 w 2174359"/>
                  <a:gd name="connsiteY9" fmla="*/ 2174320 h 2176480"/>
                  <a:gd name="connsiteX10" fmla="*/ 792148 w 2174359"/>
                  <a:gd name="connsiteY10" fmla="*/ 2162850 h 2176480"/>
                  <a:gd name="connsiteX11" fmla="*/ 40 w 2174359"/>
                  <a:gd name="connsiteY11" fmla="*/ 2160300 h 2176480"/>
                  <a:gd name="connsiteX12" fmla="*/ 0 w 2174359"/>
                  <a:gd name="connsiteY12" fmla="*/ 1008140 h 2176480"/>
                  <a:gd name="connsiteX13" fmla="*/ 40 w 2174359"/>
                  <a:gd name="connsiteY13" fmla="*/ 0 h 2176480"/>
                  <a:gd name="connsiteX0" fmla="*/ 40 w 2174359"/>
                  <a:gd name="connsiteY0" fmla="*/ 0 h 2162850"/>
                  <a:gd name="connsiteX1" fmla="*/ 2160340 w 2174359"/>
                  <a:gd name="connsiteY1" fmla="*/ 0 h 2162850"/>
                  <a:gd name="connsiteX2" fmla="*/ 2174359 w 2174359"/>
                  <a:gd name="connsiteY2" fmla="*/ 720100 h 2162850"/>
                  <a:gd name="connsiteX3" fmla="*/ 2174359 w 2174359"/>
                  <a:gd name="connsiteY3" fmla="*/ 792110 h 2162850"/>
                  <a:gd name="connsiteX4" fmla="*/ 1512248 w 2174359"/>
                  <a:gd name="connsiteY4" fmla="*/ 1080150 h 2162850"/>
                  <a:gd name="connsiteX5" fmla="*/ 2174359 w 2174359"/>
                  <a:gd name="connsiteY5" fmla="*/ 1368190 h 2162850"/>
                  <a:gd name="connsiteX6" fmla="*/ 2162265 w 2174359"/>
                  <a:gd name="connsiteY6" fmla="*/ 2160300 h 2162850"/>
                  <a:gd name="connsiteX7" fmla="*/ 2160340 w 2174359"/>
                  <a:gd name="connsiteY7" fmla="*/ 2160300 h 2162850"/>
                  <a:gd name="connsiteX8" fmla="*/ 1368228 w 2174359"/>
                  <a:gd name="connsiteY8" fmla="*/ 2160300 h 2162850"/>
                  <a:gd name="connsiteX9" fmla="*/ 792148 w 2174359"/>
                  <a:gd name="connsiteY9" fmla="*/ 2162850 h 2162850"/>
                  <a:gd name="connsiteX10" fmla="*/ 40 w 2174359"/>
                  <a:gd name="connsiteY10" fmla="*/ 2160300 h 2162850"/>
                  <a:gd name="connsiteX11" fmla="*/ 0 w 2174359"/>
                  <a:gd name="connsiteY11" fmla="*/ 1008140 h 2162850"/>
                  <a:gd name="connsiteX12" fmla="*/ 40 w 2174359"/>
                  <a:gd name="connsiteY12" fmla="*/ 0 h 216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74359" h="2162850">
                    <a:moveTo>
                      <a:pt x="40" y="0"/>
                    </a:moveTo>
                    <a:lnTo>
                      <a:pt x="2160340" y="0"/>
                    </a:lnTo>
                    <a:lnTo>
                      <a:pt x="2174359" y="720100"/>
                    </a:lnTo>
                    <a:lnTo>
                      <a:pt x="2174359" y="792110"/>
                    </a:lnTo>
                    <a:cubicBezTo>
                      <a:pt x="2127373" y="905666"/>
                      <a:pt x="1555591" y="424034"/>
                      <a:pt x="1512248" y="1080150"/>
                    </a:cubicBezTo>
                    <a:cubicBezTo>
                      <a:pt x="1569572" y="1704356"/>
                      <a:pt x="2060334" y="1244385"/>
                      <a:pt x="2174359" y="1368190"/>
                    </a:cubicBezTo>
                    <a:cubicBezTo>
                      <a:pt x="2174107" y="1663360"/>
                      <a:pt x="2166296" y="1872260"/>
                      <a:pt x="2162265" y="2160300"/>
                    </a:cubicBezTo>
                    <a:cubicBezTo>
                      <a:pt x="2162264" y="2152557"/>
                      <a:pt x="2174359" y="1334756"/>
                      <a:pt x="2160340" y="2160300"/>
                    </a:cubicBezTo>
                    <a:lnTo>
                      <a:pt x="1368228" y="2160300"/>
                    </a:lnTo>
                    <a:lnTo>
                      <a:pt x="792148" y="2162850"/>
                    </a:lnTo>
                    <a:lnTo>
                      <a:pt x="40" y="2160300"/>
                    </a:lnTo>
                    <a:cubicBezTo>
                      <a:pt x="27" y="1783113"/>
                      <a:pt x="13" y="1385327"/>
                      <a:pt x="0" y="1008140"/>
                    </a:cubicBezTo>
                    <a:cubicBezTo>
                      <a:pt x="13" y="665227"/>
                      <a:pt x="27" y="342913"/>
                      <a:pt x="40" y="0"/>
                    </a:cubicBezTo>
                    <a:close/>
                  </a:path>
                </a:pathLst>
              </a:cu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12" name="Textfeld 17"/>
              <p:cNvSpPr txBox="1"/>
              <p:nvPr/>
            </p:nvSpPr>
            <p:spPr>
              <a:xfrm>
                <a:off x="3852546" y="4162255"/>
                <a:ext cx="1404047" cy="477368"/>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Comparison</a:t>
                </a:r>
              </a:p>
              <a:p>
                <a:pPr algn="ctr"/>
                <a:r>
                  <a:rPr lang="en-US" sz="900" dirty="0" smtClean="0">
                    <a:solidFill>
                      <a:schemeClr val="bg1"/>
                    </a:solidFill>
                    <a:latin typeface="Arial" pitchFamily="34" charset="0"/>
                    <a:cs typeface="Arial" pitchFamily="34" charset="0"/>
                  </a:rPr>
                  <a:t>with </a:t>
                </a:r>
              </a:p>
              <a:p>
                <a:pPr algn="ctr"/>
                <a:r>
                  <a:rPr lang="en-US" sz="900" dirty="0" smtClean="0">
                    <a:solidFill>
                      <a:schemeClr val="bg1"/>
                    </a:solidFill>
                    <a:latin typeface="Arial" pitchFamily="34" charset="0"/>
                    <a:cs typeface="Arial" pitchFamily="34" charset="0"/>
                  </a:rPr>
                  <a:t>peers</a:t>
                </a:r>
                <a:endParaRPr lang="en-US" sz="900" dirty="0">
                  <a:solidFill>
                    <a:schemeClr val="bg1"/>
                  </a:solidFill>
                  <a:latin typeface="Arial" pitchFamily="34" charset="0"/>
                  <a:cs typeface="Arial" pitchFamily="34" charset="0"/>
                </a:endParaRPr>
              </a:p>
            </p:txBody>
          </p:sp>
        </p:grpSp>
        <p:sp>
          <p:nvSpPr>
            <p:cNvPr id="126" name="Rechteck 75"/>
            <p:cNvSpPr/>
            <p:nvPr/>
          </p:nvSpPr>
          <p:spPr>
            <a:xfrm>
              <a:off x="992960" y="4940709"/>
              <a:ext cx="7200000" cy="581176"/>
            </a:xfrm>
            <a:custGeom>
              <a:avLst/>
              <a:gdLst>
                <a:gd name="connsiteX0" fmla="*/ 0 w 6769099"/>
                <a:gd name="connsiteY0" fmla="*/ 0 h 360000"/>
                <a:gd name="connsiteX1" fmla="*/ 6769099 w 6769099"/>
                <a:gd name="connsiteY1" fmla="*/ 0 h 360000"/>
                <a:gd name="connsiteX2" fmla="*/ 6769099 w 6769099"/>
                <a:gd name="connsiteY2" fmla="*/ 360000 h 360000"/>
                <a:gd name="connsiteX3" fmla="*/ 0 w 6769099"/>
                <a:gd name="connsiteY3" fmla="*/ 360000 h 360000"/>
                <a:gd name="connsiteX4" fmla="*/ 0 w 6769099"/>
                <a:gd name="connsiteY4" fmla="*/ 0 h 360000"/>
                <a:gd name="connsiteX0" fmla="*/ 794 w 6769893"/>
                <a:gd name="connsiteY0" fmla="*/ 0 h 360000"/>
                <a:gd name="connsiteX1" fmla="*/ 6769893 w 6769893"/>
                <a:gd name="connsiteY1" fmla="*/ 0 h 360000"/>
                <a:gd name="connsiteX2" fmla="*/ 6769893 w 6769893"/>
                <a:gd name="connsiteY2" fmla="*/ 360000 h 360000"/>
                <a:gd name="connsiteX3" fmla="*/ 794 w 6769893"/>
                <a:gd name="connsiteY3" fmla="*/ 360000 h 360000"/>
                <a:gd name="connsiteX4" fmla="*/ 0 w 6769893"/>
                <a:gd name="connsiteY4" fmla="*/ 257359 h 360000"/>
                <a:gd name="connsiteX5" fmla="*/ 794 w 6769893"/>
                <a:gd name="connsiteY5" fmla="*/ 0 h 360000"/>
                <a:gd name="connsiteX0" fmla="*/ 1127919 w 7897018"/>
                <a:gd name="connsiteY0" fmla="*/ 0 h 360000"/>
                <a:gd name="connsiteX1" fmla="*/ 7897018 w 7897018"/>
                <a:gd name="connsiteY1" fmla="*/ 0 h 360000"/>
                <a:gd name="connsiteX2" fmla="*/ 7897018 w 7897018"/>
                <a:gd name="connsiteY2" fmla="*/ 360000 h 360000"/>
                <a:gd name="connsiteX3" fmla="*/ 1127919 w 7897018"/>
                <a:gd name="connsiteY3" fmla="*/ 360000 h 360000"/>
                <a:gd name="connsiteX4" fmla="*/ 1127125 w 7897018"/>
                <a:gd name="connsiteY4" fmla="*/ 257359 h 360000"/>
                <a:gd name="connsiteX5" fmla="*/ 1129506 w 7897018"/>
                <a:gd name="connsiteY5" fmla="*/ 97815 h 360000"/>
                <a:gd name="connsiteX6" fmla="*/ 1127919 w 7897018"/>
                <a:gd name="connsiteY6" fmla="*/ 0 h 360000"/>
                <a:gd name="connsiteX0" fmla="*/ 794 w 6769893"/>
                <a:gd name="connsiteY0" fmla="*/ 0 h 360000"/>
                <a:gd name="connsiteX1" fmla="*/ 6769893 w 6769893"/>
                <a:gd name="connsiteY1" fmla="*/ 0 h 360000"/>
                <a:gd name="connsiteX2" fmla="*/ 6769893 w 6769893"/>
                <a:gd name="connsiteY2" fmla="*/ 360000 h 360000"/>
                <a:gd name="connsiteX3" fmla="*/ 794 w 6769893"/>
                <a:gd name="connsiteY3" fmla="*/ 360000 h 360000"/>
                <a:gd name="connsiteX4" fmla="*/ 0 w 6769893"/>
                <a:gd name="connsiteY4" fmla="*/ 257359 h 360000"/>
                <a:gd name="connsiteX5" fmla="*/ 2381 w 6769893"/>
                <a:gd name="connsiteY5" fmla="*/ 97815 h 360000"/>
                <a:gd name="connsiteX6" fmla="*/ 794 w 6769893"/>
                <a:gd name="connsiteY6" fmla="*/ 0 h 360000"/>
                <a:gd name="connsiteX0" fmla="*/ 1191 w 6770290"/>
                <a:gd name="connsiteY0" fmla="*/ 0 h 360000"/>
                <a:gd name="connsiteX1" fmla="*/ 6770290 w 6770290"/>
                <a:gd name="connsiteY1" fmla="*/ 0 h 360000"/>
                <a:gd name="connsiteX2" fmla="*/ 6770290 w 6770290"/>
                <a:gd name="connsiteY2" fmla="*/ 360000 h 360000"/>
                <a:gd name="connsiteX3" fmla="*/ 1191 w 6770290"/>
                <a:gd name="connsiteY3" fmla="*/ 360000 h 360000"/>
                <a:gd name="connsiteX4" fmla="*/ 397 w 6770290"/>
                <a:gd name="connsiteY4" fmla="*/ 257359 h 360000"/>
                <a:gd name="connsiteX5" fmla="*/ 397 w 6770290"/>
                <a:gd name="connsiteY5" fmla="*/ 176396 h 360000"/>
                <a:gd name="connsiteX6" fmla="*/ 2778 w 6770290"/>
                <a:gd name="connsiteY6" fmla="*/ 97815 h 360000"/>
                <a:gd name="connsiteX7" fmla="*/ 1191 w 6770290"/>
                <a:gd name="connsiteY7" fmla="*/ 0 h 360000"/>
                <a:gd name="connsiteX0" fmla="*/ 360710 w 7129809"/>
                <a:gd name="connsiteY0" fmla="*/ 0 h 360000"/>
                <a:gd name="connsiteX1" fmla="*/ 7129809 w 7129809"/>
                <a:gd name="connsiteY1" fmla="*/ 0 h 360000"/>
                <a:gd name="connsiteX2" fmla="*/ 7129809 w 7129809"/>
                <a:gd name="connsiteY2" fmla="*/ 360000 h 360000"/>
                <a:gd name="connsiteX3" fmla="*/ 360710 w 7129809"/>
                <a:gd name="connsiteY3" fmla="*/ 360000 h 360000"/>
                <a:gd name="connsiteX4" fmla="*/ 359916 w 7129809"/>
                <a:gd name="connsiteY4" fmla="*/ 257359 h 360000"/>
                <a:gd name="connsiteX5" fmla="*/ 397 w 7129809"/>
                <a:gd name="connsiteY5" fmla="*/ 143976 h 360000"/>
                <a:gd name="connsiteX6" fmla="*/ 362297 w 7129809"/>
                <a:gd name="connsiteY6" fmla="*/ 97815 h 360000"/>
                <a:gd name="connsiteX7" fmla="*/ 360710 w 7129809"/>
                <a:gd name="connsiteY7" fmla="*/ 0 h 360000"/>
                <a:gd name="connsiteX0" fmla="*/ 375047 w 7144146"/>
                <a:gd name="connsiteY0" fmla="*/ 0 h 474450"/>
                <a:gd name="connsiteX1" fmla="*/ 7144146 w 7144146"/>
                <a:gd name="connsiteY1" fmla="*/ 0 h 474450"/>
                <a:gd name="connsiteX2" fmla="*/ 7144146 w 7144146"/>
                <a:gd name="connsiteY2" fmla="*/ 360000 h 474450"/>
                <a:gd name="connsiteX3" fmla="*/ 375047 w 7144146"/>
                <a:gd name="connsiteY3" fmla="*/ 360000 h 474450"/>
                <a:gd name="connsiteX4" fmla="*/ 374253 w 7144146"/>
                <a:gd name="connsiteY4" fmla="*/ 257359 h 474450"/>
                <a:gd name="connsiteX5" fmla="*/ 14734 w 7144146"/>
                <a:gd name="connsiteY5" fmla="*/ 143976 h 474450"/>
                <a:gd name="connsiteX6" fmla="*/ 376634 w 7144146"/>
                <a:gd name="connsiteY6" fmla="*/ 97815 h 474450"/>
                <a:gd name="connsiteX7" fmla="*/ 375047 w 7144146"/>
                <a:gd name="connsiteY7" fmla="*/ 0 h 474450"/>
                <a:gd name="connsiteX0" fmla="*/ 376635 w 7145734"/>
                <a:gd name="connsiteY0" fmla="*/ 152614 h 627064"/>
                <a:gd name="connsiteX1" fmla="*/ 7145734 w 7145734"/>
                <a:gd name="connsiteY1" fmla="*/ 152614 h 627064"/>
                <a:gd name="connsiteX2" fmla="*/ 7145734 w 7145734"/>
                <a:gd name="connsiteY2" fmla="*/ 512614 h 627064"/>
                <a:gd name="connsiteX3" fmla="*/ 376635 w 7145734"/>
                <a:gd name="connsiteY3" fmla="*/ 512614 h 627064"/>
                <a:gd name="connsiteX4" fmla="*/ 375841 w 7145734"/>
                <a:gd name="connsiteY4" fmla="*/ 409973 h 627064"/>
                <a:gd name="connsiteX5" fmla="*/ 16322 w 7145734"/>
                <a:gd name="connsiteY5" fmla="*/ 296590 h 627064"/>
                <a:gd name="connsiteX6" fmla="*/ 378222 w 7145734"/>
                <a:gd name="connsiteY6" fmla="*/ 250429 h 627064"/>
                <a:gd name="connsiteX7" fmla="*/ 376635 w 7145734"/>
                <a:gd name="connsiteY7" fmla="*/ 152614 h 627064"/>
                <a:gd name="connsiteX0" fmla="*/ 401291 w 7170390"/>
                <a:gd name="connsiteY0" fmla="*/ 152614 h 597100"/>
                <a:gd name="connsiteX1" fmla="*/ 7170390 w 7170390"/>
                <a:gd name="connsiteY1" fmla="*/ 152614 h 597100"/>
                <a:gd name="connsiteX2" fmla="*/ 7170390 w 7170390"/>
                <a:gd name="connsiteY2" fmla="*/ 512614 h 597100"/>
                <a:gd name="connsiteX3" fmla="*/ 401291 w 7170390"/>
                <a:gd name="connsiteY3" fmla="*/ 512614 h 597100"/>
                <a:gd name="connsiteX4" fmla="*/ 400497 w 7170390"/>
                <a:gd name="connsiteY4" fmla="*/ 409973 h 597100"/>
                <a:gd name="connsiteX5" fmla="*/ 40978 w 7170390"/>
                <a:gd name="connsiteY5" fmla="*/ 296590 h 597100"/>
                <a:gd name="connsiteX6" fmla="*/ 402878 w 7170390"/>
                <a:gd name="connsiteY6" fmla="*/ 250429 h 597100"/>
                <a:gd name="connsiteX7" fmla="*/ 401291 w 7170390"/>
                <a:gd name="connsiteY7" fmla="*/ 152614 h 597100"/>
                <a:gd name="connsiteX0" fmla="*/ 401291 w 7170390"/>
                <a:gd name="connsiteY0" fmla="*/ 156012 h 600498"/>
                <a:gd name="connsiteX1" fmla="*/ 7170390 w 7170390"/>
                <a:gd name="connsiteY1" fmla="*/ 156012 h 600498"/>
                <a:gd name="connsiteX2" fmla="*/ 7170390 w 7170390"/>
                <a:gd name="connsiteY2" fmla="*/ 516012 h 600498"/>
                <a:gd name="connsiteX3" fmla="*/ 401291 w 7170390"/>
                <a:gd name="connsiteY3" fmla="*/ 516012 h 600498"/>
                <a:gd name="connsiteX4" fmla="*/ 400497 w 7170390"/>
                <a:gd name="connsiteY4" fmla="*/ 413371 h 600498"/>
                <a:gd name="connsiteX5" fmla="*/ 40978 w 7170390"/>
                <a:gd name="connsiteY5" fmla="*/ 299988 h 600498"/>
                <a:gd name="connsiteX6" fmla="*/ 402878 w 7170390"/>
                <a:gd name="connsiteY6" fmla="*/ 253827 h 600498"/>
                <a:gd name="connsiteX7" fmla="*/ 401291 w 7170390"/>
                <a:gd name="connsiteY7" fmla="*/ 156012 h 600498"/>
                <a:gd name="connsiteX0" fmla="*/ 360313 w 7129412"/>
                <a:gd name="connsiteY0" fmla="*/ 156012 h 644924"/>
                <a:gd name="connsiteX1" fmla="*/ 7129412 w 7129412"/>
                <a:gd name="connsiteY1" fmla="*/ 156012 h 644924"/>
                <a:gd name="connsiteX2" fmla="*/ 7129412 w 7129412"/>
                <a:gd name="connsiteY2" fmla="*/ 516012 h 644924"/>
                <a:gd name="connsiteX3" fmla="*/ 360313 w 7129412"/>
                <a:gd name="connsiteY3" fmla="*/ 516012 h 644924"/>
                <a:gd name="connsiteX4" fmla="*/ 359519 w 7129412"/>
                <a:gd name="connsiteY4" fmla="*/ 413371 h 644924"/>
                <a:gd name="connsiteX5" fmla="*/ 0 w 7129412"/>
                <a:gd name="connsiteY5" fmla="*/ 299988 h 644924"/>
                <a:gd name="connsiteX6" fmla="*/ 361900 w 7129412"/>
                <a:gd name="connsiteY6" fmla="*/ 253827 h 644924"/>
                <a:gd name="connsiteX7" fmla="*/ 360313 w 7129412"/>
                <a:gd name="connsiteY7" fmla="*/ 156012 h 644924"/>
                <a:gd name="connsiteX0" fmla="*/ 360313 w 7129412"/>
                <a:gd name="connsiteY0" fmla="*/ 156012 h 636392"/>
                <a:gd name="connsiteX1" fmla="*/ 7129412 w 7129412"/>
                <a:gd name="connsiteY1" fmla="*/ 156012 h 636392"/>
                <a:gd name="connsiteX2" fmla="*/ 7129412 w 7129412"/>
                <a:gd name="connsiteY2" fmla="*/ 516012 h 636392"/>
                <a:gd name="connsiteX3" fmla="*/ 360313 w 7129412"/>
                <a:gd name="connsiteY3" fmla="*/ 516012 h 636392"/>
                <a:gd name="connsiteX4" fmla="*/ 359519 w 7129412"/>
                <a:gd name="connsiteY4" fmla="*/ 413371 h 636392"/>
                <a:gd name="connsiteX5" fmla="*/ 0 w 7129412"/>
                <a:gd name="connsiteY5" fmla="*/ 299988 h 636392"/>
                <a:gd name="connsiteX6" fmla="*/ 361900 w 7129412"/>
                <a:gd name="connsiteY6" fmla="*/ 253827 h 636392"/>
                <a:gd name="connsiteX7" fmla="*/ 360313 w 7129412"/>
                <a:gd name="connsiteY7" fmla="*/ 156012 h 636392"/>
                <a:gd name="connsiteX0" fmla="*/ 360313 w 7131490"/>
                <a:gd name="connsiteY0" fmla="*/ 156012 h 636392"/>
                <a:gd name="connsiteX1" fmla="*/ 7129412 w 7131490"/>
                <a:gd name="connsiteY1" fmla="*/ 156012 h 636392"/>
                <a:gd name="connsiteX2" fmla="*/ 7131490 w 7131490"/>
                <a:gd name="connsiteY2" fmla="*/ 319086 h 636392"/>
                <a:gd name="connsiteX3" fmla="*/ 7129412 w 7131490"/>
                <a:gd name="connsiteY3" fmla="*/ 516012 h 636392"/>
                <a:gd name="connsiteX4" fmla="*/ 360313 w 7131490"/>
                <a:gd name="connsiteY4" fmla="*/ 516012 h 636392"/>
                <a:gd name="connsiteX5" fmla="*/ 359519 w 7131490"/>
                <a:gd name="connsiteY5" fmla="*/ 413371 h 636392"/>
                <a:gd name="connsiteX6" fmla="*/ 0 w 7131490"/>
                <a:gd name="connsiteY6" fmla="*/ 299988 h 636392"/>
                <a:gd name="connsiteX7" fmla="*/ 361900 w 7131490"/>
                <a:gd name="connsiteY7" fmla="*/ 253827 h 636392"/>
                <a:gd name="connsiteX8" fmla="*/ 360313 w 7131490"/>
                <a:gd name="connsiteY8" fmla="*/ 156012 h 636392"/>
                <a:gd name="connsiteX0" fmla="*/ 360313 w 8257941"/>
                <a:gd name="connsiteY0" fmla="*/ 156012 h 636392"/>
                <a:gd name="connsiteX1" fmla="*/ 7129412 w 8257941"/>
                <a:gd name="connsiteY1" fmla="*/ 156012 h 636392"/>
                <a:gd name="connsiteX2" fmla="*/ 7131490 w 8257941"/>
                <a:gd name="connsiteY2" fmla="*/ 219074 h 636392"/>
                <a:gd name="connsiteX3" fmla="*/ 7131490 w 8257941"/>
                <a:gd name="connsiteY3" fmla="*/ 319086 h 636392"/>
                <a:gd name="connsiteX4" fmla="*/ 7129412 w 8257941"/>
                <a:gd name="connsiteY4" fmla="*/ 516012 h 636392"/>
                <a:gd name="connsiteX5" fmla="*/ 360313 w 8257941"/>
                <a:gd name="connsiteY5" fmla="*/ 516012 h 636392"/>
                <a:gd name="connsiteX6" fmla="*/ 359519 w 8257941"/>
                <a:gd name="connsiteY6" fmla="*/ 413371 h 636392"/>
                <a:gd name="connsiteX7" fmla="*/ 0 w 8257941"/>
                <a:gd name="connsiteY7" fmla="*/ 299988 h 636392"/>
                <a:gd name="connsiteX8" fmla="*/ 361900 w 8257941"/>
                <a:gd name="connsiteY8" fmla="*/ 253827 h 636392"/>
                <a:gd name="connsiteX9" fmla="*/ 360313 w 8257941"/>
                <a:gd name="connsiteY9"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7131490 w 7131836"/>
                <a:gd name="connsiteY3" fmla="*/ 319086 h 636392"/>
                <a:gd name="connsiteX4" fmla="*/ 7129412 w 7131836"/>
                <a:gd name="connsiteY4" fmla="*/ 516012 h 636392"/>
                <a:gd name="connsiteX5" fmla="*/ 360313 w 7131836"/>
                <a:gd name="connsiteY5" fmla="*/ 516012 h 636392"/>
                <a:gd name="connsiteX6" fmla="*/ 359519 w 7131836"/>
                <a:gd name="connsiteY6" fmla="*/ 413371 h 636392"/>
                <a:gd name="connsiteX7" fmla="*/ 0 w 7131836"/>
                <a:gd name="connsiteY7" fmla="*/ 299988 h 636392"/>
                <a:gd name="connsiteX8" fmla="*/ 361900 w 7131836"/>
                <a:gd name="connsiteY8" fmla="*/ 253827 h 636392"/>
                <a:gd name="connsiteX9" fmla="*/ 360313 w 7131836"/>
                <a:gd name="connsiteY9"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7131490 w 7131836"/>
                <a:gd name="connsiteY3" fmla="*/ 319086 h 636392"/>
                <a:gd name="connsiteX4" fmla="*/ 7129412 w 7131836"/>
                <a:gd name="connsiteY4" fmla="*/ 516012 h 636392"/>
                <a:gd name="connsiteX5" fmla="*/ 360313 w 7131836"/>
                <a:gd name="connsiteY5" fmla="*/ 516012 h 636392"/>
                <a:gd name="connsiteX6" fmla="*/ 359519 w 7131836"/>
                <a:gd name="connsiteY6" fmla="*/ 413371 h 636392"/>
                <a:gd name="connsiteX7" fmla="*/ 0 w 7131836"/>
                <a:gd name="connsiteY7" fmla="*/ 299988 h 636392"/>
                <a:gd name="connsiteX8" fmla="*/ 361900 w 7131836"/>
                <a:gd name="connsiteY8" fmla="*/ 253827 h 636392"/>
                <a:gd name="connsiteX9" fmla="*/ 360313 w 7131836"/>
                <a:gd name="connsiteY9" fmla="*/ 156012 h 636392"/>
                <a:gd name="connsiteX0" fmla="*/ 360313 w 8257078"/>
                <a:gd name="connsiteY0" fmla="*/ 156012 h 636392"/>
                <a:gd name="connsiteX1" fmla="*/ 7129412 w 8257078"/>
                <a:gd name="connsiteY1" fmla="*/ 156012 h 636392"/>
                <a:gd name="connsiteX2" fmla="*/ 7131490 w 8257078"/>
                <a:gd name="connsiteY2" fmla="*/ 219074 h 636392"/>
                <a:gd name="connsiteX3" fmla="*/ 7131490 w 8257078"/>
                <a:gd name="connsiteY3" fmla="*/ 319086 h 636392"/>
                <a:gd name="connsiteX4" fmla="*/ 7126308 w 8257078"/>
                <a:gd name="connsiteY4" fmla="*/ 423861 h 636392"/>
                <a:gd name="connsiteX5" fmla="*/ 7129412 w 8257078"/>
                <a:gd name="connsiteY5" fmla="*/ 516012 h 636392"/>
                <a:gd name="connsiteX6" fmla="*/ 360313 w 8257078"/>
                <a:gd name="connsiteY6" fmla="*/ 516012 h 636392"/>
                <a:gd name="connsiteX7" fmla="*/ 359519 w 8257078"/>
                <a:gd name="connsiteY7" fmla="*/ 413371 h 636392"/>
                <a:gd name="connsiteX8" fmla="*/ 0 w 8257078"/>
                <a:gd name="connsiteY8" fmla="*/ 299988 h 636392"/>
                <a:gd name="connsiteX9" fmla="*/ 361900 w 8257078"/>
                <a:gd name="connsiteY9" fmla="*/ 253827 h 636392"/>
                <a:gd name="connsiteX10" fmla="*/ 360313 w 8257078"/>
                <a:gd name="connsiteY10"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7131490 w 7131836"/>
                <a:gd name="connsiteY3" fmla="*/ 319086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6679558 w 7131836"/>
                <a:gd name="connsiteY3" fmla="*/ 277141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6679558 w 7131836"/>
                <a:gd name="connsiteY3" fmla="*/ 349149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6679558 w 7131836"/>
                <a:gd name="connsiteY3" fmla="*/ 349149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836"/>
                <a:gd name="connsiteY0" fmla="*/ 156012 h 687585"/>
                <a:gd name="connsiteX1" fmla="*/ 7129412 w 7131836"/>
                <a:gd name="connsiteY1" fmla="*/ 156012 h 687585"/>
                <a:gd name="connsiteX2" fmla="*/ 7131490 w 7131836"/>
                <a:gd name="connsiteY2" fmla="*/ 219074 h 687585"/>
                <a:gd name="connsiteX3" fmla="*/ 6679558 w 7131836"/>
                <a:gd name="connsiteY3" fmla="*/ 349149 h 687585"/>
                <a:gd name="connsiteX4" fmla="*/ 7126308 w 7131836"/>
                <a:gd name="connsiteY4" fmla="*/ 423861 h 687585"/>
                <a:gd name="connsiteX5" fmla="*/ 7129412 w 7131836"/>
                <a:gd name="connsiteY5" fmla="*/ 516012 h 687585"/>
                <a:gd name="connsiteX6" fmla="*/ 360313 w 7131836"/>
                <a:gd name="connsiteY6" fmla="*/ 516012 h 687585"/>
                <a:gd name="connsiteX7" fmla="*/ 359519 w 7131836"/>
                <a:gd name="connsiteY7" fmla="*/ 413371 h 687585"/>
                <a:gd name="connsiteX8" fmla="*/ 0 w 7131836"/>
                <a:gd name="connsiteY8" fmla="*/ 299988 h 687585"/>
                <a:gd name="connsiteX9" fmla="*/ 361900 w 7131836"/>
                <a:gd name="connsiteY9" fmla="*/ 253827 h 687585"/>
                <a:gd name="connsiteX10" fmla="*/ 360313 w 7131836"/>
                <a:gd name="connsiteY10" fmla="*/ 156012 h 687585"/>
                <a:gd name="connsiteX0" fmla="*/ 360313 w 7131836"/>
                <a:gd name="connsiteY0" fmla="*/ 156012 h 649907"/>
                <a:gd name="connsiteX1" fmla="*/ 7129412 w 7131836"/>
                <a:gd name="connsiteY1" fmla="*/ 156012 h 649907"/>
                <a:gd name="connsiteX2" fmla="*/ 7131490 w 7131836"/>
                <a:gd name="connsiteY2" fmla="*/ 219074 h 649907"/>
                <a:gd name="connsiteX3" fmla="*/ 6679558 w 7131836"/>
                <a:gd name="connsiteY3" fmla="*/ 349149 h 649907"/>
                <a:gd name="connsiteX4" fmla="*/ 7126308 w 7131836"/>
                <a:gd name="connsiteY4" fmla="*/ 423861 h 649907"/>
                <a:gd name="connsiteX5" fmla="*/ 7129412 w 7131836"/>
                <a:gd name="connsiteY5" fmla="*/ 516012 h 649907"/>
                <a:gd name="connsiteX6" fmla="*/ 360313 w 7131836"/>
                <a:gd name="connsiteY6" fmla="*/ 516012 h 649907"/>
                <a:gd name="connsiteX7" fmla="*/ 359519 w 7131836"/>
                <a:gd name="connsiteY7" fmla="*/ 413371 h 649907"/>
                <a:gd name="connsiteX8" fmla="*/ 0 w 7131836"/>
                <a:gd name="connsiteY8" fmla="*/ 299988 h 649907"/>
                <a:gd name="connsiteX9" fmla="*/ 361900 w 7131836"/>
                <a:gd name="connsiteY9" fmla="*/ 253827 h 649907"/>
                <a:gd name="connsiteX10" fmla="*/ 360313 w 7131836"/>
                <a:gd name="connsiteY10" fmla="*/ 156012 h 649907"/>
                <a:gd name="connsiteX0" fmla="*/ 360313 w 7131836"/>
                <a:gd name="connsiteY0" fmla="*/ 156012 h 649907"/>
                <a:gd name="connsiteX1" fmla="*/ 7129412 w 7131836"/>
                <a:gd name="connsiteY1" fmla="*/ 156012 h 649907"/>
                <a:gd name="connsiteX2" fmla="*/ 7131490 w 7131836"/>
                <a:gd name="connsiteY2" fmla="*/ 219074 h 649907"/>
                <a:gd name="connsiteX3" fmla="*/ 6679558 w 7131836"/>
                <a:gd name="connsiteY3" fmla="*/ 349149 h 649907"/>
                <a:gd name="connsiteX4" fmla="*/ 7126308 w 7131836"/>
                <a:gd name="connsiteY4" fmla="*/ 423861 h 649907"/>
                <a:gd name="connsiteX5" fmla="*/ 7129412 w 7131836"/>
                <a:gd name="connsiteY5" fmla="*/ 516012 h 649907"/>
                <a:gd name="connsiteX6" fmla="*/ 360313 w 7131836"/>
                <a:gd name="connsiteY6" fmla="*/ 516012 h 649907"/>
                <a:gd name="connsiteX7" fmla="*/ 359519 w 7131836"/>
                <a:gd name="connsiteY7" fmla="*/ 413371 h 649907"/>
                <a:gd name="connsiteX8" fmla="*/ 0 w 7131836"/>
                <a:gd name="connsiteY8" fmla="*/ 299988 h 649907"/>
                <a:gd name="connsiteX9" fmla="*/ 361900 w 7131836"/>
                <a:gd name="connsiteY9" fmla="*/ 253827 h 649907"/>
                <a:gd name="connsiteX10" fmla="*/ 360313 w 7131836"/>
                <a:gd name="connsiteY10" fmla="*/ 156012 h 649907"/>
                <a:gd name="connsiteX0" fmla="*/ 360313 w 7131836"/>
                <a:gd name="connsiteY0" fmla="*/ 156012 h 731862"/>
                <a:gd name="connsiteX1" fmla="*/ 7129412 w 7131836"/>
                <a:gd name="connsiteY1" fmla="*/ 156012 h 731862"/>
                <a:gd name="connsiteX2" fmla="*/ 7131490 w 7131836"/>
                <a:gd name="connsiteY2" fmla="*/ 219074 h 731862"/>
                <a:gd name="connsiteX3" fmla="*/ 6679558 w 7131836"/>
                <a:gd name="connsiteY3" fmla="*/ 349149 h 731862"/>
                <a:gd name="connsiteX4" fmla="*/ 7126308 w 7131836"/>
                <a:gd name="connsiteY4" fmla="*/ 423861 h 731862"/>
                <a:gd name="connsiteX5" fmla="*/ 7129412 w 7131836"/>
                <a:gd name="connsiteY5" fmla="*/ 516012 h 731862"/>
                <a:gd name="connsiteX6" fmla="*/ 360313 w 7131836"/>
                <a:gd name="connsiteY6" fmla="*/ 516012 h 731862"/>
                <a:gd name="connsiteX7" fmla="*/ 359519 w 7131836"/>
                <a:gd name="connsiteY7" fmla="*/ 413371 h 731862"/>
                <a:gd name="connsiteX8" fmla="*/ 0 w 7131836"/>
                <a:gd name="connsiteY8" fmla="*/ 299988 h 731862"/>
                <a:gd name="connsiteX9" fmla="*/ 361900 w 7131836"/>
                <a:gd name="connsiteY9" fmla="*/ 253827 h 731862"/>
                <a:gd name="connsiteX10" fmla="*/ 360313 w 7131836"/>
                <a:gd name="connsiteY10" fmla="*/ 156012 h 731862"/>
                <a:gd name="connsiteX0" fmla="*/ 360313 w 7131836"/>
                <a:gd name="connsiteY0" fmla="*/ 156012 h 684659"/>
                <a:gd name="connsiteX1" fmla="*/ 7129412 w 7131836"/>
                <a:gd name="connsiteY1" fmla="*/ 156012 h 684659"/>
                <a:gd name="connsiteX2" fmla="*/ 7131490 w 7131836"/>
                <a:gd name="connsiteY2" fmla="*/ 219074 h 684659"/>
                <a:gd name="connsiteX3" fmla="*/ 6679558 w 7131836"/>
                <a:gd name="connsiteY3" fmla="*/ 349149 h 684659"/>
                <a:gd name="connsiteX4" fmla="*/ 7126308 w 7131836"/>
                <a:gd name="connsiteY4" fmla="*/ 423861 h 684659"/>
                <a:gd name="connsiteX5" fmla="*/ 7129412 w 7131836"/>
                <a:gd name="connsiteY5" fmla="*/ 516012 h 684659"/>
                <a:gd name="connsiteX6" fmla="*/ 360313 w 7131836"/>
                <a:gd name="connsiteY6" fmla="*/ 516012 h 684659"/>
                <a:gd name="connsiteX7" fmla="*/ 359519 w 7131836"/>
                <a:gd name="connsiteY7" fmla="*/ 413371 h 684659"/>
                <a:gd name="connsiteX8" fmla="*/ 0 w 7131836"/>
                <a:gd name="connsiteY8" fmla="*/ 299988 h 684659"/>
                <a:gd name="connsiteX9" fmla="*/ 361900 w 7131836"/>
                <a:gd name="connsiteY9" fmla="*/ 253827 h 684659"/>
                <a:gd name="connsiteX10" fmla="*/ 360313 w 7131836"/>
                <a:gd name="connsiteY10" fmla="*/ 156012 h 684659"/>
                <a:gd name="connsiteX0" fmla="*/ 360313 w 7131836"/>
                <a:gd name="connsiteY0" fmla="*/ 156012 h 636392"/>
                <a:gd name="connsiteX1" fmla="*/ 7129412 w 7131836"/>
                <a:gd name="connsiteY1" fmla="*/ 156012 h 636392"/>
                <a:gd name="connsiteX2" fmla="*/ 7131490 w 7131836"/>
                <a:gd name="connsiteY2" fmla="*/ 219074 h 636392"/>
                <a:gd name="connsiteX3" fmla="*/ 6679558 w 7131836"/>
                <a:gd name="connsiteY3" fmla="*/ 349149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836"/>
                <a:gd name="connsiteY0" fmla="*/ 170801 h 651181"/>
                <a:gd name="connsiteX1" fmla="*/ 7129412 w 7131836"/>
                <a:gd name="connsiteY1" fmla="*/ 170801 h 651181"/>
                <a:gd name="connsiteX2" fmla="*/ 7131490 w 7131836"/>
                <a:gd name="connsiteY2" fmla="*/ 233863 h 651181"/>
                <a:gd name="connsiteX3" fmla="*/ 6679558 w 7131836"/>
                <a:gd name="connsiteY3" fmla="*/ 363938 h 651181"/>
                <a:gd name="connsiteX4" fmla="*/ 7126308 w 7131836"/>
                <a:gd name="connsiteY4" fmla="*/ 438650 h 651181"/>
                <a:gd name="connsiteX5" fmla="*/ 7129412 w 7131836"/>
                <a:gd name="connsiteY5" fmla="*/ 530801 h 651181"/>
                <a:gd name="connsiteX6" fmla="*/ 360313 w 7131836"/>
                <a:gd name="connsiteY6" fmla="*/ 530801 h 651181"/>
                <a:gd name="connsiteX7" fmla="*/ 359519 w 7131836"/>
                <a:gd name="connsiteY7" fmla="*/ 428160 h 651181"/>
                <a:gd name="connsiteX8" fmla="*/ 0 w 7131836"/>
                <a:gd name="connsiteY8" fmla="*/ 314777 h 651181"/>
                <a:gd name="connsiteX9" fmla="*/ 361900 w 7131836"/>
                <a:gd name="connsiteY9" fmla="*/ 268616 h 651181"/>
                <a:gd name="connsiteX10" fmla="*/ 360313 w 7131836"/>
                <a:gd name="connsiteY10" fmla="*/ 170801 h 651181"/>
                <a:gd name="connsiteX0" fmla="*/ 360313 w 7131836"/>
                <a:gd name="connsiteY0" fmla="*/ 156012 h 636392"/>
                <a:gd name="connsiteX1" fmla="*/ 7129412 w 7131836"/>
                <a:gd name="connsiteY1" fmla="*/ 156012 h 636392"/>
                <a:gd name="connsiteX2" fmla="*/ 7131490 w 7131836"/>
                <a:gd name="connsiteY2" fmla="*/ 219074 h 636392"/>
                <a:gd name="connsiteX3" fmla="*/ 6679558 w 7131836"/>
                <a:gd name="connsiteY3" fmla="*/ 349149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679558 w 7131490"/>
                <a:gd name="connsiteY3" fmla="*/ 349149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679558 w 7131490"/>
                <a:gd name="connsiteY3" fmla="*/ 349149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679558 w 7131490"/>
                <a:gd name="connsiteY3" fmla="*/ 349149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679558 w 7131490"/>
                <a:gd name="connsiteY3" fmla="*/ 349149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679558 w 7131490"/>
                <a:gd name="connsiteY3" fmla="*/ 349149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739271 w 7131490"/>
                <a:gd name="connsiteY3" fmla="*/ 336880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804321 w 7131490"/>
                <a:gd name="connsiteY3" fmla="*/ 336880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869755 w 7131490"/>
                <a:gd name="connsiteY3" fmla="*/ 336880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65742 h 646122"/>
                <a:gd name="connsiteX1" fmla="*/ 7129412 w 7131490"/>
                <a:gd name="connsiteY1" fmla="*/ 165742 h 646122"/>
                <a:gd name="connsiteX2" fmla="*/ 7131490 w 7131490"/>
                <a:gd name="connsiteY2" fmla="*/ 228804 h 646122"/>
                <a:gd name="connsiteX3" fmla="*/ 6869755 w 7131490"/>
                <a:gd name="connsiteY3" fmla="*/ 346610 h 646122"/>
                <a:gd name="connsiteX4" fmla="*/ 7126308 w 7131490"/>
                <a:gd name="connsiteY4" fmla="*/ 433591 h 646122"/>
                <a:gd name="connsiteX5" fmla="*/ 7129412 w 7131490"/>
                <a:gd name="connsiteY5" fmla="*/ 525742 h 646122"/>
                <a:gd name="connsiteX6" fmla="*/ 360313 w 7131490"/>
                <a:gd name="connsiteY6" fmla="*/ 525742 h 646122"/>
                <a:gd name="connsiteX7" fmla="*/ 359519 w 7131490"/>
                <a:gd name="connsiteY7" fmla="*/ 423101 h 646122"/>
                <a:gd name="connsiteX8" fmla="*/ 0 w 7131490"/>
                <a:gd name="connsiteY8" fmla="*/ 309718 h 646122"/>
                <a:gd name="connsiteX9" fmla="*/ 361900 w 7131490"/>
                <a:gd name="connsiteY9" fmla="*/ 263557 h 646122"/>
                <a:gd name="connsiteX10" fmla="*/ 360313 w 7131490"/>
                <a:gd name="connsiteY10" fmla="*/ 165742 h 646122"/>
                <a:gd name="connsiteX0" fmla="*/ 360313 w 7131490"/>
                <a:gd name="connsiteY0" fmla="*/ 156012 h 636392"/>
                <a:gd name="connsiteX1" fmla="*/ 7129412 w 7131490"/>
                <a:gd name="connsiteY1" fmla="*/ 156012 h 636392"/>
                <a:gd name="connsiteX2" fmla="*/ 7131490 w 7131490"/>
                <a:gd name="connsiteY2" fmla="*/ 219074 h 636392"/>
                <a:gd name="connsiteX3" fmla="*/ 6869755 w 7131490"/>
                <a:gd name="connsiteY3" fmla="*/ 336880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295672 w 7066849"/>
                <a:gd name="connsiteY0" fmla="*/ 119120 h 636392"/>
                <a:gd name="connsiteX1" fmla="*/ 7064771 w 7066849"/>
                <a:gd name="connsiteY1" fmla="*/ 119120 h 636392"/>
                <a:gd name="connsiteX2" fmla="*/ 7066849 w 7066849"/>
                <a:gd name="connsiteY2" fmla="*/ 182182 h 636392"/>
                <a:gd name="connsiteX3" fmla="*/ 6805114 w 7066849"/>
                <a:gd name="connsiteY3" fmla="*/ 299988 h 636392"/>
                <a:gd name="connsiteX4" fmla="*/ 7061667 w 7066849"/>
                <a:gd name="connsiteY4" fmla="*/ 386969 h 636392"/>
                <a:gd name="connsiteX5" fmla="*/ 7064771 w 7066849"/>
                <a:gd name="connsiteY5" fmla="*/ 479120 h 636392"/>
                <a:gd name="connsiteX6" fmla="*/ 295672 w 7066849"/>
                <a:gd name="connsiteY6" fmla="*/ 479120 h 636392"/>
                <a:gd name="connsiteX7" fmla="*/ 294878 w 7066849"/>
                <a:gd name="connsiteY7" fmla="*/ 376479 h 636392"/>
                <a:gd name="connsiteX8" fmla="*/ 0 w 7066849"/>
                <a:gd name="connsiteY8" fmla="*/ 299988 h 636392"/>
                <a:gd name="connsiteX9" fmla="*/ 297259 w 7066849"/>
                <a:gd name="connsiteY9" fmla="*/ 216935 h 636392"/>
                <a:gd name="connsiteX10" fmla="*/ 295672 w 7066849"/>
                <a:gd name="connsiteY10" fmla="*/ 119120 h 636392"/>
                <a:gd name="connsiteX0" fmla="*/ 295672 w 7066849"/>
                <a:gd name="connsiteY0" fmla="*/ 119120 h 636392"/>
                <a:gd name="connsiteX1" fmla="*/ 7064771 w 7066849"/>
                <a:gd name="connsiteY1" fmla="*/ 119120 h 636392"/>
                <a:gd name="connsiteX2" fmla="*/ 7066849 w 7066849"/>
                <a:gd name="connsiteY2" fmla="*/ 182182 h 636392"/>
                <a:gd name="connsiteX3" fmla="*/ 6805114 w 7066849"/>
                <a:gd name="connsiteY3" fmla="*/ 299988 h 636392"/>
                <a:gd name="connsiteX4" fmla="*/ 7061667 w 7066849"/>
                <a:gd name="connsiteY4" fmla="*/ 386969 h 636392"/>
                <a:gd name="connsiteX5" fmla="*/ 7064771 w 7066849"/>
                <a:gd name="connsiteY5" fmla="*/ 479120 h 636392"/>
                <a:gd name="connsiteX6" fmla="*/ 295672 w 7066849"/>
                <a:gd name="connsiteY6" fmla="*/ 479120 h 636392"/>
                <a:gd name="connsiteX7" fmla="*/ 294878 w 7066849"/>
                <a:gd name="connsiteY7" fmla="*/ 376479 h 636392"/>
                <a:gd name="connsiteX8" fmla="*/ 0 w 7066849"/>
                <a:gd name="connsiteY8" fmla="*/ 299988 h 636392"/>
                <a:gd name="connsiteX9" fmla="*/ 297259 w 7066849"/>
                <a:gd name="connsiteY9" fmla="*/ 216935 h 636392"/>
                <a:gd name="connsiteX10" fmla="*/ 295672 w 7066849"/>
                <a:gd name="connsiteY10" fmla="*/ 119120 h 636392"/>
                <a:gd name="connsiteX0" fmla="*/ 295672 w 7066849"/>
                <a:gd name="connsiteY0" fmla="*/ 119120 h 592875"/>
                <a:gd name="connsiteX1" fmla="*/ 7064771 w 7066849"/>
                <a:gd name="connsiteY1" fmla="*/ 119120 h 592875"/>
                <a:gd name="connsiteX2" fmla="*/ 7066849 w 7066849"/>
                <a:gd name="connsiteY2" fmla="*/ 182182 h 592875"/>
                <a:gd name="connsiteX3" fmla="*/ 6805114 w 7066849"/>
                <a:gd name="connsiteY3" fmla="*/ 299988 h 592875"/>
                <a:gd name="connsiteX4" fmla="*/ 7061667 w 7066849"/>
                <a:gd name="connsiteY4" fmla="*/ 386969 h 592875"/>
                <a:gd name="connsiteX5" fmla="*/ 7064771 w 7066849"/>
                <a:gd name="connsiteY5" fmla="*/ 479120 h 592875"/>
                <a:gd name="connsiteX6" fmla="*/ 295672 w 7066849"/>
                <a:gd name="connsiteY6" fmla="*/ 479120 h 592875"/>
                <a:gd name="connsiteX7" fmla="*/ 294878 w 7066849"/>
                <a:gd name="connsiteY7" fmla="*/ 376479 h 592875"/>
                <a:gd name="connsiteX8" fmla="*/ 0 w 7066849"/>
                <a:gd name="connsiteY8" fmla="*/ 299988 h 592875"/>
                <a:gd name="connsiteX9" fmla="*/ 297259 w 7066849"/>
                <a:gd name="connsiteY9" fmla="*/ 216935 h 592875"/>
                <a:gd name="connsiteX10" fmla="*/ 295672 w 7066849"/>
                <a:gd name="connsiteY10" fmla="*/ 119120 h 59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66849" h="592875">
                  <a:moveTo>
                    <a:pt x="295672" y="119120"/>
                  </a:moveTo>
                  <a:lnTo>
                    <a:pt x="7064771" y="119120"/>
                  </a:lnTo>
                  <a:cubicBezTo>
                    <a:pt x="7065464" y="140141"/>
                    <a:pt x="7066156" y="161161"/>
                    <a:pt x="7066849" y="182182"/>
                  </a:cubicBezTo>
                  <a:cubicBezTo>
                    <a:pt x="7046360" y="269439"/>
                    <a:pt x="6841910" y="14340"/>
                    <a:pt x="6805114" y="299988"/>
                  </a:cubicBezTo>
                  <a:cubicBezTo>
                    <a:pt x="6872918" y="574008"/>
                    <a:pt x="7054701" y="296726"/>
                    <a:pt x="7061667" y="386969"/>
                  </a:cubicBezTo>
                  <a:lnTo>
                    <a:pt x="7064771" y="479120"/>
                  </a:lnTo>
                  <a:lnTo>
                    <a:pt x="295672" y="479120"/>
                  </a:lnTo>
                  <a:cubicBezTo>
                    <a:pt x="295407" y="444906"/>
                    <a:pt x="295143" y="410693"/>
                    <a:pt x="294878" y="376479"/>
                  </a:cubicBezTo>
                  <a:cubicBezTo>
                    <a:pt x="294746" y="345878"/>
                    <a:pt x="19937" y="592875"/>
                    <a:pt x="0" y="299988"/>
                  </a:cubicBezTo>
                  <a:cubicBezTo>
                    <a:pt x="22968" y="0"/>
                    <a:pt x="297127" y="246334"/>
                    <a:pt x="297259" y="216935"/>
                  </a:cubicBezTo>
                  <a:lnTo>
                    <a:pt x="295672" y="1191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Peer group</a:t>
              </a:r>
              <a:endParaRPr lang="en-US" sz="900" b="1" dirty="0"/>
            </a:p>
          </p:txBody>
        </p:sp>
        <p:sp>
          <p:nvSpPr>
            <p:cNvPr id="127" name="Textfeld 126"/>
            <p:cNvSpPr txBox="1"/>
            <p:nvPr/>
          </p:nvSpPr>
          <p:spPr>
            <a:xfrm>
              <a:off x="272481" y="5514144"/>
              <a:ext cx="7920479" cy="246221"/>
            </a:xfrm>
            <a:prstGeom prst="rect">
              <a:avLst/>
            </a:prstGeom>
            <a:noFill/>
          </p:spPr>
          <p:txBody>
            <a:bodyPr wrap="square" lIns="0" tIns="0" rIns="0" bIns="0" rtlCol="0">
              <a:spAutoFit/>
            </a:bodyPr>
            <a:lstStyle/>
            <a:p>
              <a:pPr marL="360363" indent="-360363"/>
              <a:r>
                <a:rPr lang="en-US" sz="800" dirty="0">
                  <a:latin typeface="Arial" pitchFamily="34" charset="0"/>
                  <a:cs typeface="Arial" pitchFamily="34" charset="0"/>
                </a:rPr>
                <a:t>Note:	a) See Market Analysis workbook; b) see Expenses (</a:t>
              </a:r>
              <a:r>
                <a:rPr lang="en-US" sz="800" dirty="0" err="1">
                  <a:latin typeface="Arial" pitchFamily="34" charset="0"/>
                  <a:cs typeface="Arial" pitchFamily="34" charset="0"/>
                </a:rPr>
                <a:t>CoS</a:t>
              </a:r>
              <a:r>
                <a:rPr lang="en-US" sz="800" dirty="0">
                  <a:latin typeface="Arial" pitchFamily="34" charset="0"/>
                  <a:cs typeface="Arial" pitchFamily="34" charset="0"/>
                </a:rPr>
                <a:t> or TCM) workbooks; c) see Planning Process and Adherence to Planning workbook; d) see Investments (Planning) workbook; e) see Normalized Earnings workbook; f) see Synergy Management workbook </a:t>
              </a:r>
              <a:endParaRPr lang="en-US" sz="800" dirty="0">
                <a:latin typeface="Arial" pitchFamily="34" charset="0"/>
                <a:cs typeface="Arial" pitchFamily="34" charset="0"/>
              </a:endParaRPr>
            </a:p>
          </p:txBody>
        </p:sp>
        <p:sp>
          <p:nvSpPr>
            <p:cNvPr id="128" name="Pfeil nach rechts 127"/>
            <p:cNvSpPr/>
            <p:nvPr/>
          </p:nvSpPr>
          <p:spPr>
            <a:xfrm>
              <a:off x="8920069" y="2125236"/>
              <a:ext cx="260975" cy="2304256"/>
            </a:xfrm>
            <a:prstGeom prst="rightArrow">
              <a:avLst>
                <a:gd name="adj1" fmla="val 100000"/>
                <a:gd name="adj2" fmla="val 100000"/>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endParaRPr lang="en-US" sz="900" b="1" dirty="0" smtClean="0"/>
            </a:p>
          </p:txBody>
        </p:sp>
        <p:sp>
          <p:nvSpPr>
            <p:cNvPr id="129" name="Freihandform 128"/>
            <p:cNvSpPr/>
            <p:nvPr/>
          </p:nvSpPr>
          <p:spPr>
            <a:xfrm rot="10800000">
              <a:off x="272481" y="1106076"/>
              <a:ext cx="676408" cy="4381763"/>
            </a:xfrm>
            <a:custGeom>
              <a:avLst/>
              <a:gdLst>
                <a:gd name="connsiteX0" fmla="*/ 0 w 537964"/>
                <a:gd name="connsiteY0" fmla="*/ 0 h 4968329"/>
                <a:gd name="connsiteX1" fmla="*/ 537964 w 537964"/>
                <a:gd name="connsiteY1" fmla="*/ 0 h 4968329"/>
                <a:gd name="connsiteX2" fmla="*/ 537964 w 537964"/>
                <a:gd name="connsiteY2" fmla="*/ 4968329 h 4968329"/>
                <a:gd name="connsiteX3" fmla="*/ 0 w 537964"/>
                <a:gd name="connsiteY3" fmla="*/ 4968329 h 4968329"/>
                <a:gd name="connsiteX4" fmla="*/ 0 w 537964"/>
                <a:gd name="connsiteY4"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1091 w 539055"/>
                <a:gd name="connsiteY5" fmla="*/ 0 h 4968329"/>
                <a:gd name="connsiteX0" fmla="*/ 89313 w 627277"/>
                <a:gd name="connsiteY0" fmla="*/ 543632 h 5511961"/>
                <a:gd name="connsiteX1" fmla="*/ 627277 w 627277"/>
                <a:gd name="connsiteY1" fmla="*/ 543632 h 5511961"/>
                <a:gd name="connsiteX2" fmla="*/ 627277 w 627277"/>
                <a:gd name="connsiteY2" fmla="*/ 5511961 h 5511961"/>
                <a:gd name="connsiteX3" fmla="*/ 89313 w 627277"/>
                <a:gd name="connsiteY3" fmla="*/ 5511961 h 5511961"/>
                <a:gd name="connsiteX4" fmla="*/ 88222 w 627277"/>
                <a:gd name="connsiteY4" fmla="*/ 807380 h 5511961"/>
                <a:gd name="connsiteX5" fmla="*/ 91398 w 627277"/>
                <a:gd name="connsiteY5" fmla="*/ 667680 h 5511961"/>
                <a:gd name="connsiteX6" fmla="*/ 89313 w 627277"/>
                <a:gd name="connsiteY6" fmla="*/ 543632 h 5511961"/>
                <a:gd name="connsiteX0" fmla="*/ 89313 w 627277"/>
                <a:gd name="connsiteY0" fmla="*/ 0 h 4968329"/>
                <a:gd name="connsiteX1" fmla="*/ 627277 w 627277"/>
                <a:gd name="connsiteY1" fmla="*/ 0 h 4968329"/>
                <a:gd name="connsiteX2" fmla="*/ 627277 w 627277"/>
                <a:gd name="connsiteY2" fmla="*/ 4968329 h 4968329"/>
                <a:gd name="connsiteX3" fmla="*/ 89313 w 627277"/>
                <a:gd name="connsiteY3" fmla="*/ 4968329 h 4968329"/>
                <a:gd name="connsiteX4" fmla="*/ 88222 w 627277"/>
                <a:gd name="connsiteY4" fmla="*/ 263748 h 4968329"/>
                <a:gd name="connsiteX5" fmla="*/ 91398 w 627277"/>
                <a:gd name="connsiteY5" fmla="*/ 124048 h 4968329"/>
                <a:gd name="connsiteX6" fmla="*/ 89313 w 627277"/>
                <a:gd name="connsiteY6"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176 w 539055"/>
                <a:gd name="connsiteY5" fmla="*/ 124048 h 4968329"/>
                <a:gd name="connsiteX6" fmla="*/ 1091 w 539055"/>
                <a:gd name="connsiteY6"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176 w 539055"/>
                <a:gd name="connsiteY5" fmla="*/ 124048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1092 w 539055"/>
                <a:gd name="connsiteY5" fmla="*/ 144016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61132 w 539055"/>
                <a:gd name="connsiteY5" fmla="*/ 144016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61132 w 539055"/>
                <a:gd name="connsiteY5" fmla="*/ 144016 h 4968329"/>
                <a:gd name="connsiteX6" fmla="*/ 1 w 539055"/>
                <a:gd name="connsiteY6" fmla="*/ 44673 h 4968329"/>
                <a:gd name="connsiteX7" fmla="*/ 1091 w 539055"/>
                <a:gd name="connsiteY7" fmla="*/ 0 h 4968329"/>
                <a:gd name="connsiteX0" fmla="*/ 1091 w 539055"/>
                <a:gd name="connsiteY0" fmla="*/ 51941 h 5020270"/>
                <a:gd name="connsiteX1" fmla="*/ 539055 w 539055"/>
                <a:gd name="connsiteY1" fmla="*/ 51941 h 5020270"/>
                <a:gd name="connsiteX2" fmla="*/ 539055 w 539055"/>
                <a:gd name="connsiteY2" fmla="*/ 5020270 h 5020270"/>
                <a:gd name="connsiteX3" fmla="*/ 1091 w 539055"/>
                <a:gd name="connsiteY3" fmla="*/ 5020270 h 5020270"/>
                <a:gd name="connsiteX4" fmla="*/ 0 w 539055"/>
                <a:gd name="connsiteY4" fmla="*/ 315689 h 5020270"/>
                <a:gd name="connsiteX5" fmla="*/ 361132 w 539055"/>
                <a:gd name="connsiteY5" fmla="*/ 195957 h 5020270"/>
                <a:gd name="connsiteX6" fmla="*/ 1 w 539055"/>
                <a:gd name="connsiteY6" fmla="*/ 96614 h 5020270"/>
                <a:gd name="connsiteX7" fmla="*/ 1091 w 539055"/>
                <a:gd name="connsiteY7" fmla="*/ 51941 h 5020270"/>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107504 h 5075833"/>
                <a:gd name="connsiteX1" fmla="*/ 539055 w 539055"/>
                <a:gd name="connsiteY1" fmla="*/ 107504 h 5075833"/>
                <a:gd name="connsiteX2" fmla="*/ 539055 w 539055"/>
                <a:gd name="connsiteY2" fmla="*/ 5075833 h 5075833"/>
                <a:gd name="connsiteX3" fmla="*/ 1091 w 539055"/>
                <a:gd name="connsiteY3" fmla="*/ 5075833 h 5075833"/>
                <a:gd name="connsiteX4" fmla="*/ 0 w 539055"/>
                <a:gd name="connsiteY4" fmla="*/ 371252 h 5075833"/>
                <a:gd name="connsiteX5" fmla="*/ 361132 w 539055"/>
                <a:gd name="connsiteY5" fmla="*/ 251520 h 5075833"/>
                <a:gd name="connsiteX6" fmla="*/ 1 w 539055"/>
                <a:gd name="connsiteY6" fmla="*/ 152177 h 5075833"/>
                <a:gd name="connsiteX7" fmla="*/ 1091 w 539055"/>
                <a:gd name="connsiteY7" fmla="*/ 107504 h 5075833"/>
                <a:gd name="connsiteX0" fmla="*/ 1091 w 539055"/>
                <a:gd name="connsiteY0" fmla="*/ 55340 h 5023669"/>
                <a:gd name="connsiteX1" fmla="*/ 539055 w 539055"/>
                <a:gd name="connsiteY1" fmla="*/ 55340 h 5023669"/>
                <a:gd name="connsiteX2" fmla="*/ 539055 w 539055"/>
                <a:gd name="connsiteY2" fmla="*/ 5023669 h 5023669"/>
                <a:gd name="connsiteX3" fmla="*/ 1091 w 539055"/>
                <a:gd name="connsiteY3" fmla="*/ 5023669 h 5023669"/>
                <a:gd name="connsiteX4" fmla="*/ 0 w 539055"/>
                <a:gd name="connsiteY4" fmla="*/ 319088 h 5023669"/>
                <a:gd name="connsiteX5" fmla="*/ 361132 w 539055"/>
                <a:gd name="connsiteY5" fmla="*/ 199356 h 5023669"/>
                <a:gd name="connsiteX6" fmla="*/ 1 w 539055"/>
                <a:gd name="connsiteY6" fmla="*/ 100013 h 5023669"/>
                <a:gd name="connsiteX7" fmla="*/ 1091 w 539055"/>
                <a:gd name="connsiteY7" fmla="*/ 55340 h 5023669"/>
                <a:gd name="connsiteX0" fmla="*/ 1091 w 539055"/>
                <a:gd name="connsiteY0" fmla="*/ 100584 h 5068913"/>
                <a:gd name="connsiteX1" fmla="*/ 539055 w 539055"/>
                <a:gd name="connsiteY1" fmla="*/ 100584 h 5068913"/>
                <a:gd name="connsiteX2" fmla="*/ 539055 w 539055"/>
                <a:gd name="connsiteY2" fmla="*/ 5068913 h 5068913"/>
                <a:gd name="connsiteX3" fmla="*/ 1091 w 539055"/>
                <a:gd name="connsiteY3" fmla="*/ 5068913 h 5068913"/>
                <a:gd name="connsiteX4" fmla="*/ 0 w 539055"/>
                <a:gd name="connsiteY4" fmla="*/ 364332 h 5068913"/>
                <a:gd name="connsiteX5" fmla="*/ 361132 w 539055"/>
                <a:gd name="connsiteY5" fmla="*/ 244600 h 5068913"/>
                <a:gd name="connsiteX6" fmla="*/ 1 w 539055"/>
                <a:gd name="connsiteY6" fmla="*/ 145257 h 5068913"/>
                <a:gd name="connsiteX7" fmla="*/ 1091 w 539055"/>
                <a:gd name="connsiteY7" fmla="*/ 100584 h 5068913"/>
                <a:gd name="connsiteX0" fmla="*/ 1091 w 539055"/>
                <a:gd name="connsiteY0" fmla="*/ 139478 h 5107807"/>
                <a:gd name="connsiteX1" fmla="*/ 539055 w 539055"/>
                <a:gd name="connsiteY1" fmla="*/ 139478 h 5107807"/>
                <a:gd name="connsiteX2" fmla="*/ 539055 w 539055"/>
                <a:gd name="connsiteY2" fmla="*/ 5107807 h 5107807"/>
                <a:gd name="connsiteX3" fmla="*/ 1091 w 539055"/>
                <a:gd name="connsiteY3" fmla="*/ 5107807 h 5107807"/>
                <a:gd name="connsiteX4" fmla="*/ 0 w 539055"/>
                <a:gd name="connsiteY4" fmla="*/ 403226 h 5107807"/>
                <a:gd name="connsiteX5" fmla="*/ 361132 w 539055"/>
                <a:gd name="connsiteY5" fmla="*/ 283494 h 5107807"/>
                <a:gd name="connsiteX6" fmla="*/ 1 w 539055"/>
                <a:gd name="connsiteY6" fmla="*/ 184151 h 5107807"/>
                <a:gd name="connsiteX7" fmla="*/ 1091 w 539055"/>
                <a:gd name="connsiteY7" fmla="*/ 139478 h 5107807"/>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 w 539055"/>
                <a:gd name="connsiteY6" fmla="*/ 138337 h 5061993"/>
                <a:gd name="connsiteX7" fmla="*/ 1091 w 539055"/>
                <a:gd name="connsiteY7" fmla="*/ 93664 h 5061993"/>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 w 539055"/>
                <a:gd name="connsiteY6" fmla="*/ 138337 h 5061993"/>
                <a:gd name="connsiteX7" fmla="*/ 1091 w 539055"/>
                <a:gd name="connsiteY7" fmla="*/ 93664 h 5061993"/>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092 w 539055"/>
                <a:gd name="connsiteY6" fmla="*/ 165673 h 5061993"/>
                <a:gd name="connsiteX7" fmla="*/ 1091 w 539055"/>
                <a:gd name="connsiteY7" fmla="*/ 93664 h 5061993"/>
                <a:gd name="connsiteX0" fmla="*/ 1091 w 539055"/>
                <a:gd name="connsiteY0" fmla="*/ 21655 h 4989984"/>
                <a:gd name="connsiteX1" fmla="*/ 539055 w 539055"/>
                <a:gd name="connsiteY1" fmla="*/ 21655 h 4989984"/>
                <a:gd name="connsiteX2" fmla="*/ 539055 w 539055"/>
                <a:gd name="connsiteY2" fmla="*/ 4989984 h 4989984"/>
                <a:gd name="connsiteX3" fmla="*/ 1091 w 539055"/>
                <a:gd name="connsiteY3" fmla="*/ 4989984 h 4989984"/>
                <a:gd name="connsiteX4" fmla="*/ 0 w 539055"/>
                <a:gd name="connsiteY4" fmla="*/ 285403 h 4989984"/>
                <a:gd name="connsiteX5" fmla="*/ 361132 w 539055"/>
                <a:gd name="connsiteY5" fmla="*/ 237680 h 4989984"/>
                <a:gd name="connsiteX6" fmla="*/ 1092 w 539055"/>
                <a:gd name="connsiteY6" fmla="*/ 93664 h 4989984"/>
                <a:gd name="connsiteX7" fmla="*/ 1091 w 539055"/>
                <a:gd name="connsiteY7" fmla="*/ 21655 h 4989984"/>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147415 h 5115744"/>
                <a:gd name="connsiteX1" fmla="*/ 539055 w 539055"/>
                <a:gd name="connsiteY1" fmla="*/ 147415 h 5115744"/>
                <a:gd name="connsiteX2" fmla="*/ 539055 w 539055"/>
                <a:gd name="connsiteY2" fmla="*/ 5115744 h 5115744"/>
                <a:gd name="connsiteX3" fmla="*/ 1091 w 539055"/>
                <a:gd name="connsiteY3" fmla="*/ 5115744 h 5115744"/>
                <a:gd name="connsiteX4" fmla="*/ 0 w 539055"/>
                <a:gd name="connsiteY4" fmla="*/ 411163 h 5115744"/>
                <a:gd name="connsiteX5" fmla="*/ 361132 w 539055"/>
                <a:gd name="connsiteY5" fmla="*/ 293813 h 5115744"/>
                <a:gd name="connsiteX6" fmla="*/ 1092 w 539055"/>
                <a:gd name="connsiteY6" fmla="*/ 219424 h 5115744"/>
                <a:gd name="connsiteX7" fmla="*/ 1091 w 539055"/>
                <a:gd name="connsiteY7" fmla="*/ 147415 h 5115744"/>
                <a:gd name="connsiteX0" fmla="*/ 1091 w 539055"/>
                <a:gd name="connsiteY0" fmla="*/ 75407 h 5043736"/>
                <a:gd name="connsiteX1" fmla="*/ 539055 w 539055"/>
                <a:gd name="connsiteY1" fmla="*/ 75407 h 5043736"/>
                <a:gd name="connsiteX2" fmla="*/ 539055 w 539055"/>
                <a:gd name="connsiteY2" fmla="*/ 5043736 h 5043736"/>
                <a:gd name="connsiteX3" fmla="*/ 1091 w 539055"/>
                <a:gd name="connsiteY3" fmla="*/ 5043736 h 5043736"/>
                <a:gd name="connsiteX4" fmla="*/ 0 w 539055"/>
                <a:gd name="connsiteY4" fmla="*/ 339155 h 5043736"/>
                <a:gd name="connsiteX5" fmla="*/ 433140 w 539055"/>
                <a:gd name="connsiteY5" fmla="*/ 293813 h 5043736"/>
                <a:gd name="connsiteX6" fmla="*/ 1092 w 539055"/>
                <a:gd name="connsiteY6" fmla="*/ 147416 h 5043736"/>
                <a:gd name="connsiteX7" fmla="*/ 1091 w 539055"/>
                <a:gd name="connsiteY7" fmla="*/ 75407 h 5043736"/>
                <a:gd name="connsiteX0" fmla="*/ 1091 w 539055"/>
                <a:gd name="connsiteY0" fmla="*/ 75407 h 5043736"/>
                <a:gd name="connsiteX1" fmla="*/ 539055 w 539055"/>
                <a:gd name="connsiteY1" fmla="*/ 75407 h 5043736"/>
                <a:gd name="connsiteX2" fmla="*/ 539055 w 539055"/>
                <a:gd name="connsiteY2" fmla="*/ 5043736 h 5043736"/>
                <a:gd name="connsiteX3" fmla="*/ 1091 w 539055"/>
                <a:gd name="connsiteY3" fmla="*/ 5043736 h 5043736"/>
                <a:gd name="connsiteX4" fmla="*/ 0 w 539055"/>
                <a:gd name="connsiteY4" fmla="*/ 339155 h 5043736"/>
                <a:gd name="connsiteX5" fmla="*/ 361132 w 539055"/>
                <a:gd name="connsiteY5" fmla="*/ 293813 h 5043736"/>
                <a:gd name="connsiteX6" fmla="*/ 1092 w 539055"/>
                <a:gd name="connsiteY6" fmla="*/ 147416 h 5043736"/>
                <a:gd name="connsiteX7" fmla="*/ 1091 w 539055"/>
                <a:gd name="connsiteY7" fmla="*/ 75407 h 5043736"/>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89842 w 627806"/>
                <a:gd name="connsiteY0" fmla="*/ 109761 h 5695476"/>
                <a:gd name="connsiteX1" fmla="*/ 627806 w 627806"/>
                <a:gd name="connsiteY1" fmla="*/ 109761 h 5695476"/>
                <a:gd name="connsiteX2" fmla="*/ 627806 w 627806"/>
                <a:gd name="connsiteY2" fmla="*/ 5078090 h 5695476"/>
                <a:gd name="connsiteX3" fmla="*/ 89842 w 627806"/>
                <a:gd name="connsiteY3" fmla="*/ 5078090 h 5695476"/>
                <a:gd name="connsiteX4" fmla="*/ 88752 w 627806"/>
                <a:gd name="connsiteY4" fmla="*/ 4911379 h 5695476"/>
                <a:gd name="connsiteX5" fmla="*/ 88751 w 627806"/>
                <a:gd name="connsiteY5" fmla="*/ 373509 h 5695476"/>
                <a:gd name="connsiteX6" fmla="*/ 449883 w 627806"/>
                <a:gd name="connsiteY6" fmla="*/ 328167 h 5695476"/>
                <a:gd name="connsiteX7" fmla="*/ 89843 w 627806"/>
                <a:gd name="connsiteY7" fmla="*/ 184151 h 5695476"/>
                <a:gd name="connsiteX8" fmla="*/ 89842 w 627806"/>
                <a:gd name="connsiteY8" fmla="*/ 109761 h 5695476"/>
                <a:gd name="connsiteX0" fmla="*/ 61279 w 599243"/>
                <a:gd name="connsiteY0" fmla="*/ 109761 h 5078090"/>
                <a:gd name="connsiteX1" fmla="*/ 599243 w 599243"/>
                <a:gd name="connsiteY1" fmla="*/ 109761 h 5078090"/>
                <a:gd name="connsiteX2" fmla="*/ 599243 w 599243"/>
                <a:gd name="connsiteY2" fmla="*/ 5078090 h 5078090"/>
                <a:gd name="connsiteX3" fmla="*/ 61279 w 599243"/>
                <a:gd name="connsiteY3" fmla="*/ 5078090 h 5078090"/>
                <a:gd name="connsiteX4" fmla="*/ 60189 w 599243"/>
                <a:gd name="connsiteY4" fmla="*/ 4911379 h 5078090"/>
                <a:gd name="connsiteX5" fmla="*/ 60188 w 599243"/>
                <a:gd name="connsiteY5" fmla="*/ 373509 h 5078090"/>
                <a:gd name="connsiteX6" fmla="*/ 421320 w 599243"/>
                <a:gd name="connsiteY6" fmla="*/ 328167 h 5078090"/>
                <a:gd name="connsiteX7" fmla="*/ 61280 w 599243"/>
                <a:gd name="connsiteY7" fmla="*/ 184151 h 5078090"/>
                <a:gd name="connsiteX8" fmla="*/ 61279 w 599243"/>
                <a:gd name="connsiteY8" fmla="*/ 109761 h 5078090"/>
                <a:gd name="connsiteX0" fmla="*/ 61279 w 599243"/>
                <a:gd name="connsiteY0" fmla="*/ 109761 h 5078090"/>
                <a:gd name="connsiteX1" fmla="*/ 599243 w 599243"/>
                <a:gd name="connsiteY1" fmla="*/ 109761 h 5078090"/>
                <a:gd name="connsiteX2" fmla="*/ 599243 w 599243"/>
                <a:gd name="connsiteY2" fmla="*/ 5078090 h 5078090"/>
                <a:gd name="connsiteX3" fmla="*/ 61279 w 599243"/>
                <a:gd name="connsiteY3" fmla="*/ 5078090 h 5078090"/>
                <a:gd name="connsiteX4" fmla="*/ 61280 w 599243"/>
                <a:gd name="connsiteY4" fmla="*/ 4936679 h 5078090"/>
                <a:gd name="connsiteX5" fmla="*/ 60188 w 599243"/>
                <a:gd name="connsiteY5" fmla="*/ 373509 h 5078090"/>
                <a:gd name="connsiteX6" fmla="*/ 421320 w 599243"/>
                <a:gd name="connsiteY6" fmla="*/ 328167 h 5078090"/>
                <a:gd name="connsiteX7" fmla="*/ 61280 w 599243"/>
                <a:gd name="connsiteY7" fmla="*/ 184151 h 5078090"/>
                <a:gd name="connsiteX8" fmla="*/ 61279 w 599243"/>
                <a:gd name="connsiteY8" fmla="*/ 109761 h 5078090"/>
                <a:gd name="connsiteX0" fmla="*/ 60486 w 598450"/>
                <a:gd name="connsiteY0" fmla="*/ 109761 h 5567132"/>
                <a:gd name="connsiteX1" fmla="*/ 598450 w 598450"/>
                <a:gd name="connsiteY1" fmla="*/ 109761 h 5567132"/>
                <a:gd name="connsiteX2" fmla="*/ 598450 w 598450"/>
                <a:gd name="connsiteY2" fmla="*/ 5078090 h 5567132"/>
                <a:gd name="connsiteX3" fmla="*/ 60486 w 598450"/>
                <a:gd name="connsiteY3" fmla="*/ 5078090 h 5567132"/>
                <a:gd name="connsiteX4" fmla="*/ 60487 w 598450"/>
                <a:gd name="connsiteY4" fmla="*/ 4936679 h 5567132"/>
                <a:gd name="connsiteX5" fmla="*/ 64159 w 598450"/>
                <a:gd name="connsiteY5" fmla="*/ 4806604 h 5567132"/>
                <a:gd name="connsiteX6" fmla="*/ 59395 w 598450"/>
                <a:gd name="connsiteY6" fmla="*/ 373509 h 5567132"/>
                <a:gd name="connsiteX7" fmla="*/ 420527 w 598450"/>
                <a:gd name="connsiteY7" fmla="*/ 328167 h 5567132"/>
                <a:gd name="connsiteX8" fmla="*/ 60487 w 598450"/>
                <a:gd name="connsiteY8" fmla="*/ 184151 h 5567132"/>
                <a:gd name="connsiteX9" fmla="*/ 60486 w 598450"/>
                <a:gd name="connsiteY9" fmla="*/ 109761 h 5567132"/>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7 w 598450"/>
                <a:gd name="connsiteY4" fmla="*/ 4936679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6 w 598450"/>
                <a:gd name="connsiteY4" fmla="*/ 4936679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6 w 598450"/>
                <a:gd name="connsiteY4" fmla="*/ 4864671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89842 w 627806"/>
                <a:gd name="connsiteY0" fmla="*/ 109761 h 5078090"/>
                <a:gd name="connsiteX1" fmla="*/ 627806 w 627806"/>
                <a:gd name="connsiteY1" fmla="*/ 109761 h 5078090"/>
                <a:gd name="connsiteX2" fmla="*/ 627806 w 627806"/>
                <a:gd name="connsiteY2" fmla="*/ 5078090 h 5078090"/>
                <a:gd name="connsiteX3" fmla="*/ 89842 w 627806"/>
                <a:gd name="connsiteY3" fmla="*/ 5078090 h 5078090"/>
                <a:gd name="connsiteX4" fmla="*/ 88751 w 627806"/>
                <a:gd name="connsiteY4" fmla="*/ 4997104 h 5078090"/>
                <a:gd name="connsiteX5" fmla="*/ 89842 w 627806"/>
                <a:gd name="connsiteY5" fmla="*/ 4864671 h 5078090"/>
                <a:gd name="connsiteX6" fmla="*/ 93515 w 627806"/>
                <a:gd name="connsiteY6" fmla="*/ 4806604 h 5078090"/>
                <a:gd name="connsiteX7" fmla="*/ 88751 w 627806"/>
                <a:gd name="connsiteY7" fmla="*/ 373509 h 5078090"/>
                <a:gd name="connsiteX8" fmla="*/ 449883 w 627806"/>
                <a:gd name="connsiteY8" fmla="*/ 328167 h 5078090"/>
                <a:gd name="connsiteX9" fmla="*/ 89843 w 627806"/>
                <a:gd name="connsiteY9" fmla="*/ 184151 h 5078090"/>
                <a:gd name="connsiteX10" fmla="*/ 89842 w 627806"/>
                <a:gd name="connsiteY10"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59395 w 598450"/>
                <a:gd name="connsiteY4" fmla="*/ 4997104 h 5078090"/>
                <a:gd name="connsiteX5" fmla="*/ 60486 w 598450"/>
                <a:gd name="connsiteY5" fmla="*/ 4864671 h 5078090"/>
                <a:gd name="connsiteX6" fmla="*/ 64159 w 598450"/>
                <a:gd name="connsiteY6" fmla="*/ 4806604 h 5078090"/>
                <a:gd name="connsiteX7" fmla="*/ 59395 w 598450"/>
                <a:gd name="connsiteY7" fmla="*/ 373509 h 5078090"/>
                <a:gd name="connsiteX8" fmla="*/ 420527 w 598450"/>
                <a:gd name="connsiteY8" fmla="*/ 328167 h 5078090"/>
                <a:gd name="connsiteX9" fmla="*/ 60487 w 598450"/>
                <a:gd name="connsiteY9" fmla="*/ 184151 h 5078090"/>
                <a:gd name="connsiteX10" fmla="*/ 60486 w 598450"/>
                <a:gd name="connsiteY10"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59395 w 598450"/>
                <a:gd name="connsiteY4" fmla="*/ 4997104 h 5078090"/>
                <a:gd name="connsiteX5" fmla="*/ 60486 w 598450"/>
                <a:gd name="connsiteY5" fmla="*/ 4864671 h 5078090"/>
                <a:gd name="connsiteX6" fmla="*/ 64159 w 598450"/>
                <a:gd name="connsiteY6" fmla="*/ 4806604 h 5078090"/>
                <a:gd name="connsiteX7" fmla="*/ 59395 w 598450"/>
                <a:gd name="connsiteY7" fmla="*/ 373509 h 5078090"/>
                <a:gd name="connsiteX8" fmla="*/ 420527 w 598450"/>
                <a:gd name="connsiteY8" fmla="*/ 328167 h 5078090"/>
                <a:gd name="connsiteX9" fmla="*/ 60487 w 598450"/>
                <a:gd name="connsiteY9" fmla="*/ 184151 h 5078090"/>
                <a:gd name="connsiteX10" fmla="*/ 60486 w 598450"/>
                <a:gd name="connsiteY10" fmla="*/ 109761 h 5078090"/>
                <a:gd name="connsiteX0" fmla="*/ 60486 w 598450"/>
                <a:gd name="connsiteY0" fmla="*/ 109761 h 5577203"/>
                <a:gd name="connsiteX1" fmla="*/ 598450 w 598450"/>
                <a:gd name="connsiteY1" fmla="*/ 109761 h 5577203"/>
                <a:gd name="connsiteX2" fmla="*/ 598450 w 598450"/>
                <a:gd name="connsiteY2" fmla="*/ 5078090 h 5577203"/>
                <a:gd name="connsiteX3" fmla="*/ 60486 w 598450"/>
                <a:gd name="connsiteY3" fmla="*/ 5078090 h 5577203"/>
                <a:gd name="connsiteX4" fmla="*/ 59395 w 598450"/>
                <a:gd name="connsiteY4" fmla="*/ 4997104 h 5577203"/>
                <a:gd name="connsiteX5" fmla="*/ 64159 w 598450"/>
                <a:gd name="connsiteY5" fmla="*/ 4806604 h 5577203"/>
                <a:gd name="connsiteX6" fmla="*/ 59395 w 598450"/>
                <a:gd name="connsiteY6" fmla="*/ 373509 h 5577203"/>
                <a:gd name="connsiteX7" fmla="*/ 420527 w 598450"/>
                <a:gd name="connsiteY7" fmla="*/ 328167 h 5577203"/>
                <a:gd name="connsiteX8" fmla="*/ 60487 w 598450"/>
                <a:gd name="connsiteY8" fmla="*/ 184151 h 5577203"/>
                <a:gd name="connsiteX9" fmla="*/ 60486 w 598450"/>
                <a:gd name="connsiteY9" fmla="*/ 109761 h 5577203"/>
                <a:gd name="connsiteX0" fmla="*/ 64159 w 598450"/>
                <a:gd name="connsiteY0" fmla="*/ 4806604 h 5088544"/>
                <a:gd name="connsiteX1" fmla="*/ 59395 w 598450"/>
                <a:gd name="connsiteY1" fmla="*/ 373509 h 5088544"/>
                <a:gd name="connsiteX2" fmla="*/ 420527 w 598450"/>
                <a:gd name="connsiteY2" fmla="*/ 328167 h 5088544"/>
                <a:gd name="connsiteX3" fmla="*/ 60487 w 598450"/>
                <a:gd name="connsiteY3" fmla="*/ 184151 h 5088544"/>
                <a:gd name="connsiteX4" fmla="*/ 60486 w 598450"/>
                <a:gd name="connsiteY4" fmla="*/ 109761 h 5088544"/>
                <a:gd name="connsiteX5" fmla="*/ 598450 w 598450"/>
                <a:gd name="connsiteY5" fmla="*/ 109761 h 5088544"/>
                <a:gd name="connsiteX6" fmla="*/ 598450 w 598450"/>
                <a:gd name="connsiteY6" fmla="*/ 5078090 h 5088544"/>
                <a:gd name="connsiteX7" fmla="*/ 60486 w 598450"/>
                <a:gd name="connsiteY7" fmla="*/ 5078090 h 5088544"/>
                <a:gd name="connsiteX8" fmla="*/ 150835 w 598450"/>
                <a:gd name="connsiteY8" fmla="*/ 5088544 h 5088544"/>
                <a:gd name="connsiteX0" fmla="*/ 64159 w 598450"/>
                <a:gd name="connsiteY0" fmla="*/ 4806604 h 5078090"/>
                <a:gd name="connsiteX1" fmla="*/ 59395 w 598450"/>
                <a:gd name="connsiteY1" fmla="*/ 373509 h 5078090"/>
                <a:gd name="connsiteX2" fmla="*/ 420527 w 598450"/>
                <a:gd name="connsiteY2" fmla="*/ 328167 h 5078090"/>
                <a:gd name="connsiteX3" fmla="*/ 60487 w 598450"/>
                <a:gd name="connsiteY3" fmla="*/ 184151 h 5078090"/>
                <a:gd name="connsiteX4" fmla="*/ 60486 w 598450"/>
                <a:gd name="connsiteY4" fmla="*/ 109761 h 5078090"/>
                <a:gd name="connsiteX5" fmla="*/ 598450 w 598450"/>
                <a:gd name="connsiteY5" fmla="*/ 109761 h 5078090"/>
                <a:gd name="connsiteX6" fmla="*/ 598450 w 598450"/>
                <a:gd name="connsiteY6" fmla="*/ 5078090 h 5078090"/>
                <a:gd name="connsiteX7" fmla="*/ 60486 w 598450"/>
                <a:gd name="connsiteY7" fmla="*/ 5078090 h 5078090"/>
                <a:gd name="connsiteX0" fmla="*/ 60486 w 598450"/>
                <a:gd name="connsiteY0" fmla="*/ 4720655 h 5078090"/>
                <a:gd name="connsiteX1" fmla="*/ 59395 w 598450"/>
                <a:gd name="connsiteY1" fmla="*/ 373509 h 5078090"/>
                <a:gd name="connsiteX2" fmla="*/ 420527 w 598450"/>
                <a:gd name="connsiteY2" fmla="*/ 328167 h 5078090"/>
                <a:gd name="connsiteX3" fmla="*/ 60487 w 598450"/>
                <a:gd name="connsiteY3" fmla="*/ 184151 h 5078090"/>
                <a:gd name="connsiteX4" fmla="*/ 60486 w 598450"/>
                <a:gd name="connsiteY4" fmla="*/ 109761 h 5078090"/>
                <a:gd name="connsiteX5" fmla="*/ 598450 w 598450"/>
                <a:gd name="connsiteY5" fmla="*/ 109761 h 5078090"/>
                <a:gd name="connsiteX6" fmla="*/ 598450 w 598450"/>
                <a:gd name="connsiteY6" fmla="*/ 5078090 h 5078090"/>
                <a:gd name="connsiteX7" fmla="*/ 60486 w 598450"/>
                <a:gd name="connsiteY7" fmla="*/ 5078090 h 5078090"/>
                <a:gd name="connsiteX0" fmla="*/ 60486 w 598450"/>
                <a:gd name="connsiteY0" fmla="*/ 5080695 h 5080695"/>
                <a:gd name="connsiteX1" fmla="*/ 59395 w 598450"/>
                <a:gd name="connsiteY1" fmla="*/ 373509 h 5080695"/>
                <a:gd name="connsiteX2" fmla="*/ 420527 w 598450"/>
                <a:gd name="connsiteY2" fmla="*/ 328167 h 5080695"/>
                <a:gd name="connsiteX3" fmla="*/ 60487 w 598450"/>
                <a:gd name="connsiteY3" fmla="*/ 184151 h 5080695"/>
                <a:gd name="connsiteX4" fmla="*/ 60486 w 598450"/>
                <a:gd name="connsiteY4" fmla="*/ 109761 h 5080695"/>
                <a:gd name="connsiteX5" fmla="*/ 598450 w 598450"/>
                <a:gd name="connsiteY5" fmla="*/ 109761 h 5080695"/>
                <a:gd name="connsiteX6" fmla="*/ 598450 w 598450"/>
                <a:gd name="connsiteY6" fmla="*/ 5078090 h 5080695"/>
                <a:gd name="connsiteX7" fmla="*/ 60486 w 598450"/>
                <a:gd name="connsiteY7" fmla="*/ 5078090 h 5080695"/>
                <a:gd name="connsiteX0" fmla="*/ 62073 w 600037"/>
                <a:gd name="connsiteY0" fmla="*/ 5080695 h 5567322"/>
                <a:gd name="connsiteX1" fmla="*/ 56220 w 600037"/>
                <a:gd name="connsiteY1" fmla="*/ 4782791 h 5567322"/>
                <a:gd name="connsiteX2" fmla="*/ 60982 w 600037"/>
                <a:gd name="connsiteY2" fmla="*/ 373509 h 5567322"/>
                <a:gd name="connsiteX3" fmla="*/ 422114 w 600037"/>
                <a:gd name="connsiteY3" fmla="*/ 328167 h 5567322"/>
                <a:gd name="connsiteX4" fmla="*/ 62074 w 600037"/>
                <a:gd name="connsiteY4" fmla="*/ 184151 h 5567322"/>
                <a:gd name="connsiteX5" fmla="*/ 62073 w 600037"/>
                <a:gd name="connsiteY5" fmla="*/ 109761 h 5567322"/>
                <a:gd name="connsiteX6" fmla="*/ 600037 w 600037"/>
                <a:gd name="connsiteY6" fmla="*/ 109761 h 5567322"/>
                <a:gd name="connsiteX7" fmla="*/ 600037 w 600037"/>
                <a:gd name="connsiteY7" fmla="*/ 5078090 h 5567322"/>
                <a:gd name="connsiteX8" fmla="*/ 62073 w 600037"/>
                <a:gd name="connsiteY8" fmla="*/ 5078090 h 5567322"/>
                <a:gd name="connsiteX0" fmla="*/ 62073 w 600037"/>
                <a:gd name="connsiteY0" fmla="*/ 5080695 h 5080695"/>
                <a:gd name="connsiteX1" fmla="*/ 56220 w 600037"/>
                <a:gd name="connsiteY1" fmla="*/ 4782791 h 5080695"/>
                <a:gd name="connsiteX2" fmla="*/ 60982 w 600037"/>
                <a:gd name="connsiteY2" fmla="*/ 373509 h 5080695"/>
                <a:gd name="connsiteX3" fmla="*/ 422114 w 600037"/>
                <a:gd name="connsiteY3" fmla="*/ 328167 h 5080695"/>
                <a:gd name="connsiteX4" fmla="*/ 62074 w 600037"/>
                <a:gd name="connsiteY4" fmla="*/ 184151 h 5080695"/>
                <a:gd name="connsiteX5" fmla="*/ 62073 w 600037"/>
                <a:gd name="connsiteY5" fmla="*/ 109761 h 5080695"/>
                <a:gd name="connsiteX6" fmla="*/ 600037 w 600037"/>
                <a:gd name="connsiteY6" fmla="*/ 109761 h 5080695"/>
                <a:gd name="connsiteX7" fmla="*/ 600037 w 600037"/>
                <a:gd name="connsiteY7" fmla="*/ 5078090 h 5080695"/>
                <a:gd name="connsiteX8" fmla="*/ 62073 w 600037"/>
                <a:gd name="connsiteY8" fmla="*/ 5078090 h 5080695"/>
                <a:gd name="connsiteX0" fmla="*/ 62073 w 600037"/>
                <a:gd name="connsiteY0" fmla="*/ 5080695 h 5080695"/>
                <a:gd name="connsiteX1" fmla="*/ 51458 w 600037"/>
                <a:gd name="connsiteY1" fmla="*/ 4901854 h 5080695"/>
                <a:gd name="connsiteX2" fmla="*/ 56220 w 600037"/>
                <a:gd name="connsiteY2" fmla="*/ 4782791 h 5080695"/>
                <a:gd name="connsiteX3" fmla="*/ 60982 w 600037"/>
                <a:gd name="connsiteY3" fmla="*/ 373509 h 5080695"/>
                <a:gd name="connsiteX4" fmla="*/ 422114 w 600037"/>
                <a:gd name="connsiteY4" fmla="*/ 328167 h 5080695"/>
                <a:gd name="connsiteX5" fmla="*/ 62074 w 600037"/>
                <a:gd name="connsiteY5" fmla="*/ 184151 h 5080695"/>
                <a:gd name="connsiteX6" fmla="*/ 62073 w 600037"/>
                <a:gd name="connsiteY6" fmla="*/ 109761 h 5080695"/>
                <a:gd name="connsiteX7" fmla="*/ 600037 w 600037"/>
                <a:gd name="connsiteY7" fmla="*/ 109761 h 5080695"/>
                <a:gd name="connsiteX8" fmla="*/ 600037 w 600037"/>
                <a:gd name="connsiteY8" fmla="*/ 5078090 h 5080695"/>
                <a:gd name="connsiteX9" fmla="*/ 62073 w 600037"/>
                <a:gd name="connsiteY9" fmla="*/ 5078090 h 5080695"/>
                <a:gd name="connsiteX0" fmla="*/ 62073 w 600037"/>
                <a:gd name="connsiteY0" fmla="*/ 5080695 h 5080695"/>
                <a:gd name="connsiteX1" fmla="*/ 51458 w 600037"/>
                <a:gd name="connsiteY1" fmla="*/ 5020916 h 5080695"/>
                <a:gd name="connsiteX2" fmla="*/ 51458 w 600037"/>
                <a:gd name="connsiteY2" fmla="*/ 4901854 h 5080695"/>
                <a:gd name="connsiteX3" fmla="*/ 56220 w 600037"/>
                <a:gd name="connsiteY3" fmla="*/ 4782791 h 5080695"/>
                <a:gd name="connsiteX4" fmla="*/ 60982 w 600037"/>
                <a:gd name="connsiteY4" fmla="*/ 373509 h 5080695"/>
                <a:gd name="connsiteX5" fmla="*/ 422114 w 600037"/>
                <a:gd name="connsiteY5" fmla="*/ 328167 h 5080695"/>
                <a:gd name="connsiteX6" fmla="*/ 62074 w 600037"/>
                <a:gd name="connsiteY6" fmla="*/ 184151 h 5080695"/>
                <a:gd name="connsiteX7" fmla="*/ 62073 w 600037"/>
                <a:gd name="connsiteY7" fmla="*/ 109761 h 5080695"/>
                <a:gd name="connsiteX8" fmla="*/ 600037 w 600037"/>
                <a:gd name="connsiteY8" fmla="*/ 109761 h 5080695"/>
                <a:gd name="connsiteX9" fmla="*/ 600037 w 600037"/>
                <a:gd name="connsiteY9" fmla="*/ 5078090 h 5080695"/>
                <a:gd name="connsiteX10" fmla="*/ 62073 w 600037"/>
                <a:gd name="connsiteY10" fmla="*/ 5078090 h 5080695"/>
                <a:gd name="connsiteX0" fmla="*/ 432047 w 970011"/>
                <a:gd name="connsiteY0" fmla="*/ 5080695 h 5080695"/>
                <a:gd name="connsiteX1" fmla="*/ 421432 w 970011"/>
                <a:gd name="connsiteY1" fmla="*/ 5020916 h 5080695"/>
                <a:gd name="connsiteX2" fmla="*/ 0 w 970011"/>
                <a:gd name="connsiteY2" fmla="*/ 4936679 h 5080695"/>
                <a:gd name="connsiteX3" fmla="*/ 426194 w 970011"/>
                <a:gd name="connsiteY3" fmla="*/ 4782791 h 5080695"/>
                <a:gd name="connsiteX4" fmla="*/ 430956 w 970011"/>
                <a:gd name="connsiteY4" fmla="*/ 373509 h 5080695"/>
                <a:gd name="connsiteX5" fmla="*/ 792088 w 970011"/>
                <a:gd name="connsiteY5" fmla="*/ 328167 h 5080695"/>
                <a:gd name="connsiteX6" fmla="*/ 432048 w 970011"/>
                <a:gd name="connsiteY6" fmla="*/ 184151 h 5080695"/>
                <a:gd name="connsiteX7" fmla="*/ 432047 w 970011"/>
                <a:gd name="connsiteY7" fmla="*/ 109761 h 5080695"/>
                <a:gd name="connsiteX8" fmla="*/ 970011 w 970011"/>
                <a:gd name="connsiteY8" fmla="*/ 109761 h 5080695"/>
                <a:gd name="connsiteX9" fmla="*/ 970011 w 970011"/>
                <a:gd name="connsiteY9" fmla="*/ 5078090 h 5080695"/>
                <a:gd name="connsiteX10" fmla="*/ 432047 w 970011"/>
                <a:gd name="connsiteY10" fmla="*/ 5078090 h 5080695"/>
                <a:gd name="connsiteX0" fmla="*/ 432047 w 970011"/>
                <a:gd name="connsiteY0" fmla="*/ 5080695 h 5080695"/>
                <a:gd name="connsiteX1" fmla="*/ 421432 w 970011"/>
                <a:gd name="connsiteY1" fmla="*/ 5020916 h 5080695"/>
                <a:gd name="connsiteX2" fmla="*/ 0 w 970011"/>
                <a:gd name="connsiteY2" fmla="*/ 4936679 h 5080695"/>
                <a:gd name="connsiteX3" fmla="*/ 426194 w 970011"/>
                <a:gd name="connsiteY3" fmla="*/ 4782791 h 5080695"/>
                <a:gd name="connsiteX4" fmla="*/ 430956 w 970011"/>
                <a:gd name="connsiteY4" fmla="*/ 373509 h 5080695"/>
                <a:gd name="connsiteX5" fmla="*/ 792088 w 970011"/>
                <a:gd name="connsiteY5" fmla="*/ 328167 h 5080695"/>
                <a:gd name="connsiteX6" fmla="*/ 432048 w 970011"/>
                <a:gd name="connsiteY6" fmla="*/ 184151 h 5080695"/>
                <a:gd name="connsiteX7" fmla="*/ 432047 w 970011"/>
                <a:gd name="connsiteY7" fmla="*/ 109761 h 5080695"/>
                <a:gd name="connsiteX8" fmla="*/ 970011 w 970011"/>
                <a:gd name="connsiteY8" fmla="*/ 109761 h 5080695"/>
                <a:gd name="connsiteX9" fmla="*/ 970011 w 970011"/>
                <a:gd name="connsiteY9" fmla="*/ 5078090 h 5080695"/>
                <a:gd name="connsiteX10" fmla="*/ 432047 w 970011"/>
                <a:gd name="connsiteY10" fmla="*/ 5078090 h 5080695"/>
                <a:gd name="connsiteX0" fmla="*/ 432047 w 970011"/>
                <a:gd name="connsiteY0" fmla="*/ 5080695 h 5334745"/>
                <a:gd name="connsiteX1" fmla="*/ 421432 w 970011"/>
                <a:gd name="connsiteY1" fmla="*/ 5020916 h 5334745"/>
                <a:gd name="connsiteX2" fmla="*/ 0 w 970011"/>
                <a:gd name="connsiteY2" fmla="*/ 4936679 h 5334745"/>
                <a:gd name="connsiteX3" fmla="*/ 426194 w 970011"/>
                <a:gd name="connsiteY3" fmla="*/ 4782791 h 5334745"/>
                <a:gd name="connsiteX4" fmla="*/ 430956 w 970011"/>
                <a:gd name="connsiteY4" fmla="*/ 373509 h 5334745"/>
                <a:gd name="connsiteX5" fmla="*/ 792088 w 970011"/>
                <a:gd name="connsiteY5" fmla="*/ 328167 h 5334745"/>
                <a:gd name="connsiteX6" fmla="*/ 432048 w 970011"/>
                <a:gd name="connsiteY6" fmla="*/ 184151 h 5334745"/>
                <a:gd name="connsiteX7" fmla="*/ 432047 w 970011"/>
                <a:gd name="connsiteY7" fmla="*/ 109761 h 5334745"/>
                <a:gd name="connsiteX8" fmla="*/ 970011 w 970011"/>
                <a:gd name="connsiteY8" fmla="*/ 109761 h 5334745"/>
                <a:gd name="connsiteX9" fmla="*/ 970011 w 970011"/>
                <a:gd name="connsiteY9" fmla="*/ 5078090 h 5334745"/>
                <a:gd name="connsiteX10" fmla="*/ 432047 w 970011"/>
                <a:gd name="connsiteY10" fmla="*/ 5078090 h 5334745"/>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191722"/>
                <a:gd name="connsiteX1" fmla="*/ 421432 w 970011"/>
                <a:gd name="connsiteY1" fmla="*/ 5020916 h 5191722"/>
                <a:gd name="connsiteX2" fmla="*/ 0 w 970011"/>
                <a:gd name="connsiteY2" fmla="*/ 4864671 h 5191722"/>
                <a:gd name="connsiteX3" fmla="*/ 426194 w 970011"/>
                <a:gd name="connsiteY3" fmla="*/ 4782791 h 5191722"/>
                <a:gd name="connsiteX4" fmla="*/ 430956 w 970011"/>
                <a:gd name="connsiteY4" fmla="*/ 373509 h 5191722"/>
                <a:gd name="connsiteX5" fmla="*/ 792088 w 970011"/>
                <a:gd name="connsiteY5" fmla="*/ 328167 h 5191722"/>
                <a:gd name="connsiteX6" fmla="*/ 432048 w 970011"/>
                <a:gd name="connsiteY6" fmla="*/ 184151 h 5191722"/>
                <a:gd name="connsiteX7" fmla="*/ 432047 w 970011"/>
                <a:gd name="connsiteY7" fmla="*/ 109761 h 5191722"/>
                <a:gd name="connsiteX8" fmla="*/ 970011 w 970011"/>
                <a:gd name="connsiteY8" fmla="*/ 109761 h 5191722"/>
                <a:gd name="connsiteX9" fmla="*/ 970011 w 970011"/>
                <a:gd name="connsiteY9" fmla="*/ 5078090 h 5191722"/>
                <a:gd name="connsiteX10" fmla="*/ 432047 w 970011"/>
                <a:gd name="connsiteY10" fmla="*/ 5078090 h 5191722"/>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16527"/>
                <a:gd name="connsiteX1" fmla="*/ 421432 w 970011"/>
                <a:gd name="connsiteY1" fmla="*/ 5020916 h 5216527"/>
                <a:gd name="connsiteX2" fmla="*/ 0 w 970011"/>
                <a:gd name="connsiteY2" fmla="*/ 4936679 h 5216527"/>
                <a:gd name="connsiteX3" fmla="*/ 426194 w 970011"/>
                <a:gd name="connsiteY3" fmla="*/ 4782791 h 5216527"/>
                <a:gd name="connsiteX4" fmla="*/ 430956 w 970011"/>
                <a:gd name="connsiteY4" fmla="*/ 373509 h 5216527"/>
                <a:gd name="connsiteX5" fmla="*/ 792088 w 970011"/>
                <a:gd name="connsiteY5" fmla="*/ 328167 h 5216527"/>
                <a:gd name="connsiteX6" fmla="*/ 432048 w 970011"/>
                <a:gd name="connsiteY6" fmla="*/ 184151 h 5216527"/>
                <a:gd name="connsiteX7" fmla="*/ 432047 w 970011"/>
                <a:gd name="connsiteY7" fmla="*/ 109761 h 5216527"/>
                <a:gd name="connsiteX8" fmla="*/ 970011 w 970011"/>
                <a:gd name="connsiteY8" fmla="*/ 109761 h 5216527"/>
                <a:gd name="connsiteX9" fmla="*/ 970011 w 970011"/>
                <a:gd name="connsiteY9" fmla="*/ 5078090 h 5216527"/>
                <a:gd name="connsiteX10" fmla="*/ 432047 w 970011"/>
                <a:gd name="connsiteY10" fmla="*/ 5078090 h 5216527"/>
                <a:gd name="connsiteX0" fmla="*/ 360039 w 898003"/>
                <a:gd name="connsiteY0" fmla="*/ 5080695 h 5216528"/>
                <a:gd name="connsiteX1" fmla="*/ 349424 w 898003"/>
                <a:gd name="connsiteY1" fmla="*/ 5020916 h 5216528"/>
                <a:gd name="connsiteX2" fmla="*/ 0 w 898003"/>
                <a:gd name="connsiteY2" fmla="*/ 4936680 h 5216528"/>
                <a:gd name="connsiteX3" fmla="*/ 354186 w 898003"/>
                <a:gd name="connsiteY3" fmla="*/ 4782791 h 5216528"/>
                <a:gd name="connsiteX4" fmla="*/ 358948 w 898003"/>
                <a:gd name="connsiteY4" fmla="*/ 373509 h 5216528"/>
                <a:gd name="connsiteX5" fmla="*/ 720080 w 898003"/>
                <a:gd name="connsiteY5" fmla="*/ 328167 h 5216528"/>
                <a:gd name="connsiteX6" fmla="*/ 360040 w 898003"/>
                <a:gd name="connsiteY6" fmla="*/ 184151 h 5216528"/>
                <a:gd name="connsiteX7" fmla="*/ 360039 w 898003"/>
                <a:gd name="connsiteY7" fmla="*/ 109761 h 5216528"/>
                <a:gd name="connsiteX8" fmla="*/ 898003 w 898003"/>
                <a:gd name="connsiteY8" fmla="*/ 109761 h 5216528"/>
                <a:gd name="connsiteX9" fmla="*/ 898003 w 898003"/>
                <a:gd name="connsiteY9" fmla="*/ 5078090 h 5216528"/>
                <a:gd name="connsiteX10" fmla="*/ 360039 w 898003"/>
                <a:gd name="connsiteY10" fmla="*/ 5078090 h 521652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93568 w 931532"/>
                <a:gd name="connsiteY0" fmla="*/ 5080695 h 5186088"/>
                <a:gd name="connsiteX1" fmla="*/ 382953 w 931532"/>
                <a:gd name="connsiteY1" fmla="*/ 5020916 h 5186088"/>
                <a:gd name="connsiteX2" fmla="*/ 33529 w 931532"/>
                <a:gd name="connsiteY2" fmla="*/ 4936680 h 5186088"/>
                <a:gd name="connsiteX3" fmla="*/ 387715 w 931532"/>
                <a:gd name="connsiteY3" fmla="*/ 4782791 h 5186088"/>
                <a:gd name="connsiteX4" fmla="*/ 392477 w 931532"/>
                <a:gd name="connsiteY4" fmla="*/ 373509 h 5186088"/>
                <a:gd name="connsiteX5" fmla="*/ 753609 w 931532"/>
                <a:gd name="connsiteY5" fmla="*/ 328167 h 5186088"/>
                <a:gd name="connsiteX6" fmla="*/ 393569 w 931532"/>
                <a:gd name="connsiteY6" fmla="*/ 184151 h 5186088"/>
                <a:gd name="connsiteX7" fmla="*/ 393568 w 931532"/>
                <a:gd name="connsiteY7" fmla="*/ 109761 h 5186088"/>
                <a:gd name="connsiteX8" fmla="*/ 931532 w 931532"/>
                <a:gd name="connsiteY8" fmla="*/ 109761 h 5186088"/>
                <a:gd name="connsiteX9" fmla="*/ 931532 w 931532"/>
                <a:gd name="connsiteY9" fmla="*/ 5078090 h 5186088"/>
                <a:gd name="connsiteX10" fmla="*/ 393568 w 931532"/>
                <a:gd name="connsiteY10" fmla="*/ 5078090 h 518608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60039 w 898003"/>
                <a:gd name="connsiteY0" fmla="*/ 5080695 h 5186087"/>
                <a:gd name="connsiteX1" fmla="*/ 349424 w 898003"/>
                <a:gd name="connsiteY1" fmla="*/ 5020916 h 5186087"/>
                <a:gd name="connsiteX2" fmla="*/ 0 w 898003"/>
                <a:gd name="connsiteY2" fmla="*/ 4936679 h 5186087"/>
                <a:gd name="connsiteX3" fmla="*/ 354186 w 898003"/>
                <a:gd name="connsiteY3" fmla="*/ 4782791 h 5186087"/>
                <a:gd name="connsiteX4" fmla="*/ 358948 w 898003"/>
                <a:gd name="connsiteY4" fmla="*/ 373509 h 5186087"/>
                <a:gd name="connsiteX5" fmla="*/ 720080 w 898003"/>
                <a:gd name="connsiteY5" fmla="*/ 328167 h 5186087"/>
                <a:gd name="connsiteX6" fmla="*/ 360040 w 898003"/>
                <a:gd name="connsiteY6" fmla="*/ 184151 h 5186087"/>
                <a:gd name="connsiteX7" fmla="*/ 360039 w 898003"/>
                <a:gd name="connsiteY7" fmla="*/ 109761 h 5186087"/>
                <a:gd name="connsiteX8" fmla="*/ 898003 w 898003"/>
                <a:gd name="connsiteY8" fmla="*/ 109761 h 5186087"/>
                <a:gd name="connsiteX9" fmla="*/ 898003 w 898003"/>
                <a:gd name="connsiteY9" fmla="*/ 5078090 h 5186087"/>
                <a:gd name="connsiteX10" fmla="*/ 360039 w 898003"/>
                <a:gd name="connsiteY10" fmla="*/ 5078090 h 5186087"/>
                <a:gd name="connsiteX0" fmla="*/ 404316 w 942280"/>
                <a:gd name="connsiteY0" fmla="*/ 5080695 h 5186088"/>
                <a:gd name="connsiteX1" fmla="*/ 393701 w 942280"/>
                <a:gd name="connsiteY1" fmla="*/ 5020916 h 5186088"/>
                <a:gd name="connsiteX2" fmla="*/ 0 w 942280"/>
                <a:gd name="connsiteY2" fmla="*/ 4936680 h 5186088"/>
                <a:gd name="connsiteX3" fmla="*/ 398463 w 942280"/>
                <a:gd name="connsiteY3" fmla="*/ 4782791 h 5186088"/>
                <a:gd name="connsiteX4" fmla="*/ 403225 w 942280"/>
                <a:gd name="connsiteY4" fmla="*/ 373509 h 5186088"/>
                <a:gd name="connsiteX5" fmla="*/ 764357 w 942280"/>
                <a:gd name="connsiteY5" fmla="*/ 328167 h 5186088"/>
                <a:gd name="connsiteX6" fmla="*/ 404317 w 942280"/>
                <a:gd name="connsiteY6" fmla="*/ 184151 h 5186088"/>
                <a:gd name="connsiteX7" fmla="*/ 404316 w 942280"/>
                <a:gd name="connsiteY7" fmla="*/ 109761 h 5186088"/>
                <a:gd name="connsiteX8" fmla="*/ 942280 w 942280"/>
                <a:gd name="connsiteY8" fmla="*/ 109761 h 5186088"/>
                <a:gd name="connsiteX9" fmla="*/ 942280 w 942280"/>
                <a:gd name="connsiteY9" fmla="*/ 5078090 h 5186088"/>
                <a:gd name="connsiteX10" fmla="*/ 404316 w 942280"/>
                <a:gd name="connsiteY10" fmla="*/ 5078090 h 5186088"/>
                <a:gd name="connsiteX0" fmla="*/ 404316 w 942280"/>
                <a:gd name="connsiteY0" fmla="*/ 5080695 h 5186088"/>
                <a:gd name="connsiteX1" fmla="*/ 393701 w 942280"/>
                <a:gd name="connsiteY1" fmla="*/ 5020916 h 5186088"/>
                <a:gd name="connsiteX2" fmla="*/ 0 w 942280"/>
                <a:gd name="connsiteY2" fmla="*/ 4936680 h 5186088"/>
                <a:gd name="connsiteX3" fmla="*/ 398463 w 942280"/>
                <a:gd name="connsiteY3" fmla="*/ 4782791 h 5186088"/>
                <a:gd name="connsiteX4" fmla="*/ 403225 w 942280"/>
                <a:gd name="connsiteY4" fmla="*/ 373509 h 5186088"/>
                <a:gd name="connsiteX5" fmla="*/ 764357 w 942280"/>
                <a:gd name="connsiteY5" fmla="*/ 328167 h 5186088"/>
                <a:gd name="connsiteX6" fmla="*/ 404317 w 942280"/>
                <a:gd name="connsiteY6" fmla="*/ 184151 h 5186088"/>
                <a:gd name="connsiteX7" fmla="*/ 404316 w 942280"/>
                <a:gd name="connsiteY7" fmla="*/ 109761 h 5186088"/>
                <a:gd name="connsiteX8" fmla="*/ 942280 w 942280"/>
                <a:gd name="connsiteY8" fmla="*/ 109761 h 5186088"/>
                <a:gd name="connsiteX9" fmla="*/ 942280 w 942280"/>
                <a:gd name="connsiteY9" fmla="*/ 5078090 h 5186088"/>
                <a:gd name="connsiteX10" fmla="*/ 404316 w 942280"/>
                <a:gd name="connsiteY10" fmla="*/ 5078090 h 5186088"/>
                <a:gd name="connsiteX0" fmla="*/ 404316 w 942280"/>
                <a:gd name="connsiteY0" fmla="*/ 5080695 h 5189155"/>
                <a:gd name="connsiteX1" fmla="*/ 393701 w 942280"/>
                <a:gd name="connsiteY1" fmla="*/ 5020916 h 5189155"/>
                <a:gd name="connsiteX2" fmla="*/ 0 w 942280"/>
                <a:gd name="connsiteY2" fmla="*/ 4936680 h 5189155"/>
                <a:gd name="connsiteX3" fmla="*/ 398463 w 942280"/>
                <a:gd name="connsiteY3" fmla="*/ 4782791 h 5189155"/>
                <a:gd name="connsiteX4" fmla="*/ 403225 w 942280"/>
                <a:gd name="connsiteY4" fmla="*/ 373509 h 5189155"/>
                <a:gd name="connsiteX5" fmla="*/ 764357 w 942280"/>
                <a:gd name="connsiteY5" fmla="*/ 328167 h 5189155"/>
                <a:gd name="connsiteX6" fmla="*/ 404317 w 942280"/>
                <a:gd name="connsiteY6" fmla="*/ 184151 h 5189155"/>
                <a:gd name="connsiteX7" fmla="*/ 404316 w 942280"/>
                <a:gd name="connsiteY7" fmla="*/ 109761 h 5189155"/>
                <a:gd name="connsiteX8" fmla="*/ 942280 w 942280"/>
                <a:gd name="connsiteY8" fmla="*/ 109761 h 5189155"/>
                <a:gd name="connsiteX9" fmla="*/ 942280 w 942280"/>
                <a:gd name="connsiteY9" fmla="*/ 5078090 h 5189155"/>
                <a:gd name="connsiteX10" fmla="*/ 404316 w 942280"/>
                <a:gd name="connsiteY10" fmla="*/ 5078090 h 5189155"/>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98103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70118"/>
                <a:gd name="connsiteY0" fmla="*/ 5044365 h 5152824"/>
                <a:gd name="connsiteX1" fmla="*/ 505964 w 1070118"/>
                <a:gd name="connsiteY1" fmla="*/ 4984586 h 5152824"/>
                <a:gd name="connsiteX2" fmla="*/ 0 w 1070118"/>
                <a:gd name="connsiteY2" fmla="*/ 4900349 h 5152824"/>
                <a:gd name="connsiteX3" fmla="*/ 510726 w 1070118"/>
                <a:gd name="connsiteY3" fmla="*/ 4746461 h 5152824"/>
                <a:gd name="connsiteX4" fmla="*/ 515488 w 1070118"/>
                <a:gd name="connsiteY4" fmla="*/ 337179 h 5152824"/>
                <a:gd name="connsiteX5" fmla="*/ 898103 w 1070118"/>
                <a:gd name="connsiteY5" fmla="*/ 291837 h 5152824"/>
                <a:gd name="connsiteX6" fmla="*/ 516580 w 1070118"/>
                <a:gd name="connsiteY6" fmla="*/ 147821 h 5152824"/>
                <a:gd name="connsiteX7" fmla="*/ 516579 w 1070118"/>
                <a:gd name="connsiteY7" fmla="*/ 73431 h 5152824"/>
                <a:gd name="connsiteX8" fmla="*/ 1054543 w 1070118"/>
                <a:gd name="connsiteY8" fmla="*/ 73431 h 5152824"/>
                <a:gd name="connsiteX9" fmla="*/ 1054543 w 1070118"/>
                <a:gd name="connsiteY9" fmla="*/ 5041760 h 5152824"/>
                <a:gd name="connsiteX10" fmla="*/ 516579 w 1070118"/>
                <a:gd name="connsiteY10" fmla="*/ 5041760 h 5152824"/>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4543" h="5162642">
                  <a:moveTo>
                    <a:pt x="516579" y="5054183"/>
                  </a:moveTo>
                  <a:lnTo>
                    <a:pt x="505964" y="4994404"/>
                  </a:lnTo>
                  <a:cubicBezTo>
                    <a:pt x="365487" y="4966325"/>
                    <a:pt x="182597" y="5162642"/>
                    <a:pt x="0" y="4910167"/>
                  </a:cubicBezTo>
                  <a:cubicBezTo>
                    <a:pt x="101858" y="4578169"/>
                    <a:pt x="368661" y="4807575"/>
                    <a:pt x="510726" y="4756279"/>
                  </a:cubicBezTo>
                  <a:cubicBezTo>
                    <a:pt x="510544" y="3971748"/>
                    <a:pt x="454506" y="1089434"/>
                    <a:pt x="515488" y="346997"/>
                  </a:cubicBezTo>
                  <a:cubicBezTo>
                    <a:pt x="645783" y="336296"/>
                    <a:pt x="811401" y="489209"/>
                    <a:pt x="898103" y="301655"/>
                  </a:cubicBezTo>
                  <a:cubicBezTo>
                    <a:pt x="910891" y="0"/>
                    <a:pt x="637075" y="181302"/>
                    <a:pt x="516580" y="157639"/>
                  </a:cubicBezTo>
                  <a:cubicBezTo>
                    <a:pt x="516943" y="142748"/>
                    <a:pt x="516216" y="98140"/>
                    <a:pt x="516579" y="83249"/>
                  </a:cubicBezTo>
                  <a:lnTo>
                    <a:pt x="1054543" y="83249"/>
                  </a:lnTo>
                  <a:lnTo>
                    <a:pt x="1054543" y="5051578"/>
                  </a:lnTo>
                  <a:lnTo>
                    <a:pt x="516579" y="5051578"/>
                  </a:lnTo>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54000" tIns="54000" rIns="54000" bIns="54000" rtlCol="0" anchor="t"/>
            <a:lstStyle/>
            <a:p>
              <a:pPr algn="ctr"/>
              <a:r>
                <a:rPr lang="en-US" sz="900" b="1" dirty="0" smtClean="0"/>
                <a:t>Market and competitive analysis</a:t>
              </a:r>
              <a:r>
                <a:rPr lang="en-US" sz="900" b="1" baseline="30000" dirty="0" smtClean="0"/>
                <a:t>(a)</a:t>
              </a:r>
              <a:endParaRPr lang="en-US" sz="900" b="1" baseline="30000" dirty="0"/>
            </a:p>
          </p:txBody>
        </p:sp>
        <p:sp>
          <p:nvSpPr>
            <p:cNvPr id="130" name="Textfeld 16"/>
            <p:cNvSpPr txBox="1"/>
            <p:nvPr/>
          </p:nvSpPr>
          <p:spPr>
            <a:xfrm>
              <a:off x="6825208" y="3068960"/>
              <a:ext cx="1152128" cy="369332"/>
            </a:xfrm>
            <a:prstGeom prst="rect">
              <a:avLst/>
            </a:prstGeom>
            <a:noFill/>
            <a:ln w="25400">
              <a:noFill/>
            </a:ln>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Scale </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effects</a:t>
              </a:r>
              <a:endParaRPr lang="en-US" sz="900" dirty="0">
                <a:solidFill>
                  <a:schemeClr val="bg1"/>
                </a:solidFill>
                <a:latin typeface="Arial" pitchFamily="34" charset="0"/>
                <a:cs typeface="Arial" pitchFamily="34" charset="0"/>
              </a:endParaRPr>
            </a:p>
          </p:txBody>
        </p:sp>
        <p:sp>
          <p:nvSpPr>
            <p:cNvPr id="131" name="Textfeld 16"/>
            <p:cNvSpPr txBox="1"/>
            <p:nvPr/>
          </p:nvSpPr>
          <p:spPr>
            <a:xfrm>
              <a:off x="6878166" y="4116730"/>
              <a:ext cx="1152128" cy="507831"/>
            </a:xfrm>
            <a:prstGeom prst="rect">
              <a:avLst/>
            </a:prstGeom>
            <a:noFill/>
            <a:ln w="25400">
              <a:noFill/>
            </a:ln>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Cost savings potential &amp; synergies</a:t>
              </a:r>
              <a:r>
                <a:rPr lang="en-US" sz="900" baseline="30000" dirty="0" smtClean="0">
                  <a:solidFill>
                    <a:schemeClr val="bg1"/>
                  </a:solidFill>
                  <a:latin typeface="Arial" pitchFamily="34" charset="0"/>
                  <a:cs typeface="Arial" pitchFamily="34" charset="0"/>
                </a:rPr>
                <a:t>(f)</a:t>
              </a:r>
              <a:endParaRPr lang="en-US" sz="900" baseline="30000" dirty="0">
                <a:solidFill>
                  <a:schemeClr val="bg1"/>
                </a:solidFill>
                <a:latin typeface="Arial" pitchFamily="34" charset="0"/>
                <a:cs typeface="Arial" pitchFamily="34" charset="0"/>
              </a:endParaRPr>
            </a:p>
          </p:txBody>
        </p:sp>
        <p:sp>
          <p:nvSpPr>
            <p:cNvPr id="132" name="Textfeld 16"/>
            <p:cNvSpPr txBox="1"/>
            <p:nvPr/>
          </p:nvSpPr>
          <p:spPr>
            <a:xfrm>
              <a:off x="4302691" y="2758068"/>
              <a:ext cx="1170327" cy="369332"/>
            </a:xfrm>
            <a:prstGeom prst="rect">
              <a:avLst/>
            </a:prstGeom>
            <a:noFill/>
            <a:ln w="25400">
              <a:noFill/>
            </a:ln>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Investments and </a:t>
              </a:r>
            </a:p>
            <a:p>
              <a:pPr algn="ctr"/>
              <a:r>
                <a:rPr lang="en-US" sz="900" dirty="0" smtClean="0">
                  <a:solidFill>
                    <a:schemeClr val="bg1"/>
                  </a:solidFill>
                  <a:latin typeface="Arial" pitchFamily="34" charset="0"/>
                  <a:cs typeface="Arial" pitchFamily="34" charset="0"/>
                </a:rPr>
                <a:t>Depreciation</a:t>
              </a:r>
              <a:r>
                <a:rPr lang="en-US" sz="900" baseline="30000" dirty="0" smtClean="0">
                  <a:solidFill>
                    <a:schemeClr val="bg1"/>
                  </a:solidFill>
                  <a:latin typeface="Arial" pitchFamily="34" charset="0"/>
                  <a:cs typeface="Arial" pitchFamily="34" charset="0"/>
                </a:rPr>
                <a:t>(d)</a:t>
              </a:r>
              <a:endParaRPr lang="en-US" sz="900" baseline="30000" dirty="0">
                <a:solidFill>
                  <a:schemeClr val="bg1"/>
                </a:solidFill>
                <a:latin typeface="Arial" pitchFamily="34" charset="0"/>
                <a:cs typeface="Arial" pitchFamily="34" charset="0"/>
              </a:endParaRPr>
            </a:p>
          </p:txBody>
        </p:sp>
        <p:sp>
          <p:nvSpPr>
            <p:cNvPr id="133" name="Textfeld 27"/>
            <p:cNvSpPr txBox="1"/>
            <p:nvPr/>
          </p:nvSpPr>
          <p:spPr>
            <a:xfrm>
              <a:off x="706917" y="3933056"/>
              <a:ext cx="1725803" cy="369332"/>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rPr>
                <a:t>Normal-</a:t>
              </a:r>
              <a:br>
                <a:rPr lang="en-US" sz="900" dirty="0" smtClean="0">
                  <a:solidFill>
                    <a:schemeClr val="bg1"/>
                  </a:solidFill>
                </a:rPr>
              </a:br>
              <a:r>
                <a:rPr lang="en-US" sz="900" dirty="0" smtClean="0">
                  <a:solidFill>
                    <a:schemeClr val="bg1"/>
                  </a:solidFill>
                </a:rPr>
                <a:t>ization</a:t>
              </a:r>
              <a:r>
                <a:rPr lang="en-US" sz="900" baseline="30000" dirty="0" smtClean="0">
                  <a:solidFill>
                    <a:schemeClr val="bg1"/>
                  </a:solidFill>
                </a:rPr>
                <a:t>(e)</a:t>
              </a:r>
              <a:endParaRPr lang="en-US" sz="900" baseline="30000" dirty="0">
                <a:solidFill>
                  <a:schemeClr val="bg1"/>
                </a:solidFill>
              </a:endParaRPr>
            </a:p>
          </p:txBody>
        </p:sp>
      </p:grpSp>
      <p:sp>
        <p:nvSpPr>
          <p:cNvPr id="134" name="Rechteck 133"/>
          <p:cNvSpPr/>
          <p:nvPr/>
        </p:nvSpPr>
        <p:spPr>
          <a:xfrm>
            <a:off x="8331485" y="5741846"/>
            <a:ext cx="1080516" cy="2590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dirty="0" smtClean="0">
                <a:solidFill>
                  <a:schemeClr val="bg1"/>
                </a:solidFill>
              </a:rPr>
              <a:t>Scope of the workbooks </a:t>
            </a:r>
            <a:endParaRPr lang="en-US" sz="900" dirty="0">
              <a:solidFill>
                <a:schemeClr val="bg1"/>
              </a:solidFill>
            </a:endParaRPr>
          </a:p>
        </p:txBody>
      </p:sp>
    </p:spTree>
    <p:extLst>
      <p:ext uri="{BB962C8B-B14F-4D97-AF65-F5344CB8AC3E}">
        <p14:creationId xmlns:p14="http://schemas.microsoft.com/office/powerpoint/2010/main" val="6221346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Expenditures from Gross Profit to EBIT Total Cost Method (Planning)</a:t>
            </a:r>
          </a:p>
        </p:txBody>
      </p:sp>
      <p:sp>
        <p:nvSpPr>
          <p:cNvPr id="4" name="Titel 3"/>
          <p:cNvSpPr>
            <a:spLocks noGrp="1"/>
          </p:cNvSpPr>
          <p:nvPr>
            <p:ph type="title"/>
          </p:nvPr>
        </p:nvSpPr>
        <p:spPr/>
        <p:txBody>
          <a:bodyPr/>
          <a:lstStyle/>
          <a:p>
            <a:r>
              <a:rPr lang="en-US" dirty="0" smtClean="0"/>
              <a:t>Overview (4/6) – Pitfall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1125893941"/>
              </p:ext>
            </p:extLst>
          </p:nvPr>
        </p:nvGraphicFramePr>
        <p:xfrm>
          <a:off x="488950" y="1422400"/>
          <a:ext cx="8928100" cy="4711456"/>
        </p:xfrm>
        <a:graphic>
          <a:graphicData uri="http://schemas.openxmlformats.org/drawingml/2006/table">
            <a:tbl>
              <a:tblPr firstRow="1" bandRow="1">
                <a:tableStyleId>{5C22544A-7EE6-4342-B048-85BDC9FD1C3A}</a:tableStyleId>
              </a:tblPr>
              <a:tblGrid>
                <a:gridCol w="625475"/>
                <a:gridCol w="8302625"/>
              </a:tblGrid>
              <a:tr h="28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No.</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itfalls/Lessons learned</a:t>
                      </a:r>
                    </a:p>
                  </a:txBody>
                  <a:tcPr marL="54000" marR="54000" marT="54000" marB="54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Comparability: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With the analysis of the past and planning as well as the benchmarking of the planning in the market and competitive environment/peer group, the general comparability of the parameters analyzed is to be assured, if necessary by means of adjustments/conversions. </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Differences may result, for instance, with:</a:t>
                      </a:r>
                    </a:p>
                    <a:p>
                      <a:pPr marL="360000" marR="0" lvl="1" indent="-144000" algn="l" defTabSz="914400" rtl="0" eaLnBrk="1" fontAlgn="auto" latinLnBrk="0" hangingPunct="1">
                        <a:lnSpc>
                          <a:spcPct val="95000"/>
                        </a:lnSpc>
                        <a:spcBef>
                          <a:spcPts val="0"/>
                        </a:spcBef>
                        <a:spcAft>
                          <a:spcPts val="2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a:t>
                      </a: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delineation</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Differences in financial reporting standards or utilization of accounting options (e.g. presentation as expenses vs. capitalization and depreciation)</a:t>
                      </a:r>
                    </a:p>
                    <a:p>
                      <a:pPr marL="360000" marR="0" lvl="1" indent="-144000" algn="l" defTabSz="914400" rtl="0" eaLnBrk="1" fontAlgn="auto" latinLnBrk="0" hangingPunct="1">
                        <a:lnSpc>
                          <a:spcPct val="95000"/>
                        </a:lnSpc>
                        <a:spcBef>
                          <a:spcPts val="0"/>
                        </a:spcBef>
                        <a:spcAft>
                          <a:spcPts val="2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a:t>
                      </a: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information shown</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Differing accounting standards or utilization of balancing options or latitude (e.g. reporting as expense vs. capitalization and depreciation, differing realization of sales, etc.)</a:t>
                      </a:r>
                    </a:p>
                    <a:p>
                      <a:pPr marL="360000" marR="0" lvl="1" indent="-144000" algn="l" defTabSz="914400" rtl="0" eaLnBrk="1" fontAlgn="auto" latinLnBrk="0" hangingPunct="1">
                        <a:lnSpc>
                          <a:spcPct val="95000"/>
                        </a:lnSpc>
                        <a:spcBef>
                          <a:spcPts val="0"/>
                        </a:spcBef>
                        <a:spcAft>
                          <a:spcPts val="2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a:t>
                      </a: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fundamental design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d arrangement of economically identical/similar issues: Various measures for achieving the same economic result (e.g. acquisition vs. leasing/rental, borrowing vs. factoring)</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 lack of complete comparability (e.g. lack of information about the impact of options, etc. with peers that appear to be significant) is to be mentioned and appropriately recognized (e.g. “only limited validity“).</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12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dirty="0" smtClean="0">
                          <a:ln>
                            <a:noFill/>
                          </a:ln>
                          <a:solidFill>
                            <a:srgbClr val="000000"/>
                          </a:solidFill>
                          <a:effectLst/>
                          <a:uLnTx/>
                          <a:uFillTx/>
                          <a:latin typeface="+mn-lt"/>
                          <a:ea typeface="+mn-ea"/>
                          <a:cs typeface="Arial" pitchFamily="34" charset="0"/>
                        </a:rPr>
                        <a:t>Planning depth: </a:t>
                      </a:r>
                      <a:r>
                        <a:rPr kumimoji="0" lang="en-US" sz="900" b="0" i="0" u="none" strike="noStrike" kern="1200" cap="none" spc="0" normalizeH="0" baseline="0" dirty="0" smtClean="0">
                          <a:ln>
                            <a:noFill/>
                          </a:ln>
                          <a:solidFill>
                            <a:srgbClr val="000000"/>
                          </a:solidFill>
                          <a:effectLst/>
                          <a:uLnTx/>
                          <a:uFillTx/>
                          <a:latin typeface="+mn-lt"/>
                          <a:ea typeface="+mn-ea"/>
                          <a:cs typeface="Arial" pitchFamily="34" charset="0"/>
                        </a:rPr>
                        <a:t>Frequently, the first planning year (budget) is detailed and therefore planned realistically or even conservatively because other processes are based on them (remuneration, metrics, target attainment) and measurement can be made promptly (current trading). Subsequent planning years are generally not included here and are frequently based on a reduced depth of the planning assumptions. They are often planned generally, frequently much “more fancifully” (higher growth, increase in margins,…</a:t>
                      </a:r>
                      <a:r>
                        <a:rPr kumimoji="0" lang="en-US" sz="900" b="0" i="0" u="none" strike="noStrike" kern="1200" cap="none" spc="0" normalizeH="0" baseline="0" dirty="0" smtClean="0">
                          <a:ln>
                            <a:noFill/>
                          </a:ln>
                          <a:solidFill>
                            <a:srgbClr val="000000"/>
                          </a:solidFill>
                          <a:effectLst/>
                          <a:uLnTx/>
                          <a:uFillTx/>
                          <a:latin typeface="+mn-lt"/>
                          <a:ea typeface="+mn-ea"/>
                          <a:cs typeface="Arial" pitchFamily="34" charset="0"/>
                          <a:sym typeface="Wingdings" panose="05000000000000000000" pitchFamily="2" charset="2"/>
                        </a:rPr>
                        <a:t> </a:t>
                      </a:r>
                      <a:r>
                        <a:rPr kumimoji="0" lang="en-US" sz="900" b="0" i="0" u="none" strike="noStrike" kern="1200" cap="none" spc="0" normalizeH="0" baseline="0" dirty="0" smtClean="0">
                          <a:ln>
                            <a:noFill/>
                          </a:ln>
                          <a:solidFill>
                            <a:srgbClr val="000000"/>
                          </a:solidFill>
                          <a:effectLst/>
                          <a:uLnTx/>
                          <a:uFillTx/>
                          <a:latin typeface="+mn-lt"/>
                          <a:ea typeface="+mn-ea"/>
                          <a:cs typeface="Arial" pitchFamily="34" charset="0"/>
                        </a:rPr>
                        <a:t>“hockey stick“) (similar to a strategic outlook) and therefore should be viewed more critically.</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12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dirty="0" smtClean="0">
                          <a:ln>
                            <a:noFill/>
                          </a:ln>
                          <a:solidFill>
                            <a:srgbClr val="000000"/>
                          </a:solidFill>
                          <a:effectLst/>
                          <a:uLnTx/>
                          <a:uFillTx/>
                          <a:latin typeface="+mn-lt"/>
                          <a:ea typeface="+mn-ea"/>
                          <a:cs typeface="Arial" pitchFamily="34" charset="0"/>
                        </a:rPr>
                        <a:t>Materiality: </a:t>
                      </a:r>
                      <a:r>
                        <a:rPr kumimoji="0" lang="en-US" sz="900" b="0" i="0" u="none" strike="noStrike" kern="1200" cap="none" spc="0" normalizeH="0" baseline="0" dirty="0" smtClean="0">
                          <a:ln>
                            <a:noFill/>
                          </a:ln>
                          <a:solidFill>
                            <a:srgbClr val="000000"/>
                          </a:solidFill>
                          <a:effectLst/>
                          <a:uLnTx/>
                          <a:uFillTx/>
                          <a:latin typeface="+mn-lt"/>
                          <a:ea typeface="+mn-ea"/>
                          <a:cs typeface="Arial" pitchFamily="34" charset="0"/>
                        </a:rPr>
                        <a:t>With the analysis of the past and planning as well as the benchmarking of the planning in the market and competitive environment/peer group care should be taken that these are only performed for main products/product groups/segments/regions. Furthermore, with the analysis and presentation of the various types of costs, the focus should be on the triggering types of costs of the essential and significant profit/margin changes. No expansive descriptions of non-essential items simply because you know a lot about it!</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360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Inflation: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Frequently, inflation-based cost increases are not considered in the client’s planning. This is to be scrutinized carefully (e.g. anti-cyclic increases in efficiency) and adjusted if necessary.</a:t>
                      </a:r>
                      <a:endParaRPr kumimoji="0" lang="en-US" sz="900" b="0" i="0" u="none" strike="noStrike" kern="1200" cap="none" spc="0" normalizeH="0" baseline="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46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Intention: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Generally a more optimistic picture of the future developmental potential of the target is shown and positive aspects especially emphasized in the framework of sell-side clients. While for buy-side clients planning is scrutinized especially critically and tends to be viewed pessimistically. In both cases, it may come to adjustments of the client planning, scenarios or references to these in our reports.</a:t>
                      </a:r>
                      <a:endParaRPr kumimoji="0" lang="en-US" sz="900" b="0" i="0" u="none" strike="noStrike" kern="1200" cap="none" spc="0" normalizeH="0" baseline="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12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Transition actual to plan: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Frequently, the first planning year/budget is not based on audited results from the previous actual year, but rather on a forecast/extrapolation for the previous actual year. Frequently, the audited results and forecast/extrapolation for the previous actual year deviate from one another. Breaches may then occur between the previous actual year and first planning year/budget that may have to be adjusted in case of materiality (adjustment of planning, P&amp;L and balance sheet). </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bl>
          </a:graphicData>
        </a:graphic>
      </p:graphicFrame>
      <p:grpSp>
        <p:nvGrpSpPr>
          <p:cNvPr id="52" name="Gruppieren 51"/>
          <p:cNvGrpSpPr/>
          <p:nvPr/>
        </p:nvGrpSpPr>
        <p:grpSpPr>
          <a:xfrm>
            <a:off x="607685" y="1768280"/>
            <a:ext cx="371794" cy="461665"/>
            <a:chOff x="2619016" y="2564904"/>
            <a:chExt cx="559665" cy="694949"/>
          </a:xfrm>
        </p:grpSpPr>
        <p:grpSp>
          <p:nvGrpSpPr>
            <p:cNvPr id="53" name="Gruppieren 52"/>
            <p:cNvGrpSpPr/>
            <p:nvPr/>
          </p:nvGrpSpPr>
          <p:grpSpPr>
            <a:xfrm>
              <a:off x="2619016" y="2617334"/>
              <a:ext cx="559665" cy="561552"/>
              <a:chOff x="5484264" y="4001307"/>
              <a:chExt cx="1409320" cy="1414073"/>
            </a:xfrm>
          </p:grpSpPr>
          <p:sp>
            <p:nvSpPr>
              <p:cNvPr id="55" name="Ellipse 54"/>
              <p:cNvSpPr/>
              <p:nvPr/>
            </p:nvSpPr>
            <p:spPr>
              <a:xfrm>
                <a:off x="5484264" y="4008400"/>
                <a:ext cx="1399886" cy="1399886"/>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56" name="Akkord 55"/>
              <p:cNvSpPr/>
              <p:nvPr/>
            </p:nvSpPr>
            <p:spPr>
              <a:xfrm>
                <a:off x="5494802" y="4001307"/>
                <a:ext cx="1389699" cy="1406979"/>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7" name="Akkord 56"/>
              <p:cNvSpPr/>
              <p:nvPr/>
            </p:nvSpPr>
            <p:spPr>
              <a:xfrm>
                <a:off x="5486603" y="4008401"/>
                <a:ext cx="1406981" cy="1406979"/>
              </a:xfrm>
              <a:prstGeom prst="chord">
                <a:avLst>
                  <a:gd name="adj1" fmla="val 5823043"/>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8" name="Rechteck 57"/>
              <p:cNvSpPr/>
              <p:nvPr/>
            </p:nvSpPr>
            <p:spPr>
              <a:xfrm>
                <a:off x="5793877" y="4182560"/>
                <a:ext cx="479924" cy="99396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9" name="Akkord 58"/>
              <p:cNvSpPr/>
              <p:nvPr/>
            </p:nvSpPr>
            <p:spPr>
              <a:xfrm rot="18900000">
                <a:off x="5614173" y="4335770"/>
                <a:ext cx="1078035" cy="1078036"/>
              </a:xfrm>
              <a:prstGeom prst="chord">
                <a:avLst>
                  <a:gd name="adj1" fmla="val 7704689"/>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grpSp>
        <p:sp>
          <p:nvSpPr>
            <p:cNvPr id="54" name="Rechteck 53"/>
            <p:cNvSpPr/>
            <p:nvPr/>
          </p:nvSpPr>
          <p:spPr>
            <a:xfrm>
              <a:off x="2628888" y="2564904"/>
              <a:ext cx="536173" cy="694949"/>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1</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60" name="Gruppieren 59"/>
          <p:cNvGrpSpPr/>
          <p:nvPr/>
        </p:nvGrpSpPr>
        <p:grpSpPr>
          <a:xfrm>
            <a:off x="607686" y="3449173"/>
            <a:ext cx="371793" cy="461665"/>
            <a:chOff x="3638116" y="2564904"/>
            <a:chExt cx="559663" cy="694947"/>
          </a:xfrm>
        </p:grpSpPr>
        <p:sp>
          <p:nvSpPr>
            <p:cNvPr id="61" name="Ellipse 60"/>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62" name="Akkord 61"/>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3" name="Akkord 62"/>
            <p:cNvSpPr/>
            <p:nvPr/>
          </p:nvSpPr>
          <p:spPr>
            <a:xfrm>
              <a:off x="3640454" y="2620151"/>
              <a:ext cx="557325" cy="558735"/>
            </a:xfrm>
            <a:prstGeom prst="chord">
              <a:avLst>
                <a:gd name="adj1" fmla="val 7085818"/>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4" name="Rechteck 65"/>
            <p:cNvSpPr/>
            <p:nvPr/>
          </p:nvSpPr>
          <p:spPr>
            <a:xfrm>
              <a:off x="3757158" y="2689313"/>
              <a:ext cx="241338" cy="396623"/>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38" h="396623">
                  <a:moveTo>
                    <a:pt x="0" y="0"/>
                  </a:moveTo>
                  <a:lnTo>
                    <a:pt x="241338" y="15240"/>
                  </a:lnTo>
                  <a:lnTo>
                    <a:pt x="106083" y="39662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5" name="Akkord 64"/>
            <p:cNvSpPr/>
            <p:nvPr/>
          </p:nvSpPr>
          <p:spPr>
            <a:xfrm rot="18368769">
              <a:off x="3698246" y="2810255"/>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6" name="Rechteck 65"/>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2</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67" name="Gruppieren 66"/>
          <p:cNvGrpSpPr/>
          <p:nvPr/>
        </p:nvGrpSpPr>
        <p:grpSpPr>
          <a:xfrm>
            <a:off x="607686" y="4060766"/>
            <a:ext cx="371793" cy="461665"/>
            <a:chOff x="3638116" y="2564904"/>
            <a:chExt cx="559663" cy="694947"/>
          </a:xfrm>
        </p:grpSpPr>
        <p:sp>
          <p:nvSpPr>
            <p:cNvPr id="68" name="Ellipse 67"/>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69" name="Akkord 68"/>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1" name="Akkord 70"/>
            <p:cNvSpPr/>
            <p:nvPr/>
          </p:nvSpPr>
          <p:spPr>
            <a:xfrm>
              <a:off x="3640454" y="2620151"/>
              <a:ext cx="557325" cy="558735"/>
            </a:xfrm>
            <a:prstGeom prst="chord">
              <a:avLst>
                <a:gd name="adj1" fmla="val 7100192"/>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2" name="Rechteck 65"/>
            <p:cNvSpPr/>
            <p:nvPr/>
          </p:nvSpPr>
          <p:spPr>
            <a:xfrm>
              <a:off x="3757158" y="2689313"/>
              <a:ext cx="207048" cy="394718"/>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201333" y="37757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3" name="Akkord 72"/>
            <p:cNvSpPr/>
            <p:nvPr/>
          </p:nvSpPr>
          <p:spPr>
            <a:xfrm rot="17881290">
              <a:off x="3719201" y="2819781"/>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4" name="Rechteck 73"/>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3</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27" name="Gruppieren 26"/>
          <p:cNvGrpSpPr/>
          <p:nvPr/>
        </p:nvGrpSpPr>
        <p:grpSpPr>
          <a:xfrm>
            <a:off x="602331" y="4591673"/>
            <a:ext cx="371793" cy="461665"/>
            <a:chOff x="3638116" y="2564904"/>
            <a:chExt cx="559663" cy="694947"/>
          </a:xfrm>
        </p:grpSpPr>
        <p:sp>
          <p:nvSpPr>
            <p:cNvPr id="28" name="Ellipse 27"/>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29" name="Akkord 28"/>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0" name="Akkord 29"/>
            <p:cNvSpPr/>
            <p:nvPr/>
          </p:nvSpPr>
          <p:spPr>
            <a:xfrm>
              <a:off x="3640454" y="2620151"/>
              <a:ext cx="557325" cy="558735"/>
            </a:xfrm>
            <a:prstGeom prst="chord">
              <a:avLst>
                <a:gd name="adj1" fmla="val 7372660"/>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1" name="Rechteck 65"/>
            <p:cNvSpPr/>
            <p:nvPr/>
          </p:nvSpPr>
          <p:spPr>
            <a:xfrm>
              <a:off x="3757158" y="2689313"/>
              <a:ext cx="207048" cy="30763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186093" y="372684"/>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2" name="Akkord 31"/>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3" name="Rechteck 32"/>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4</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34" name="Gruppieren 33"/>
          <p:cNvGrpSpPr/>
          <p:nvPr/>
        </p:nvGrpSpPr>
        <p:grpSpPr>
          <a:xfrm>
            <a:off x="602331" y="5030765"/>
            <a:ext cx="376724" cy="461665"/>
            <a:chOff x="3627089" y="2564904"/>
            <a:chExt cx="567086" cy="694948"/>
          </a:xfrm>
        </p:grpSpPr>
        <p:sp>
          <p:nvSpPr>
            <p:cNvPr id="35" name="Ellipse 34"/>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36" name="Akkord 35"/>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7" name="Akkord 101"/>
            <p:cNvSpPr/>
            <p:nvPr/>
          </p:nvSpPr>
          <p:spPr>
            <a:xfrm>
              <a:off x="3627089" y="2620139"/>
              <a:ext cx="396347" cy="499892"/>
            </a:xfrm>
            <a:custGeom>
              <a:avLst/>
              <a:gdLst>
                <a:gd name="connsiteX0" fmla="*/ 130497 w 557325"/>
                <a:gd name="connsiteY0" fmla="*/ 499880 h 541309"/>
                <a:gd name="connsiteX1" fmla="*/ 17377 w 557325"/>
                <a:gd name="connsiteY1" fmla="*/ 176574 h 541309"/>
                <a:gd name="connsiteX2" fmla="*/ 310378 w 557325"/>
                <a:gd name="connsiteY2" fmla="*/ 1758 h 541309"/>
                <a:gd name="connsiteX3" fmla="*/ 130497 w 557325"/>
                <a:gd name="connsiteY3" fmla="*/ 499880 h 541309"/>
                <a:gd name="connsiteX0" fmla="*/ 130527 w 310408"/>
                <a:gd name="connsiteY0" fmla="*/ 499892 h 499892"/>
                <a:gd name="connsiteX1" fmla="*/ 17407 w 310408"/>
                <a:gd name="connsiteY1" fmla="*/ 176586 h 499892"/>
                <a:gd name="connsiteX2" fmla="*/ 310408 w 310408"/>
                <a:gd name="connsiteY2" fmla="*/ 1770 h 499892"/>
                <a:gd name="connsiteX3" fmla="*/ 280142 w 310408"/>
                <a:gd name="connsiteY3" fmla="*/ 76501 h 499892"/>
                <a:gd name="connsiteX4" fmla="*/ 130527 w 310408"/>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130527 w 396347"/>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331577 w 396347"/>
                <a:gd name="connsiteY4" fmla="*/ 226996 h 499892"/>
                <a:gd name="connsiteX5" fmla="*/ 130527 w 396347"/>
                <a:gd name="connsiteY5"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230612 w 396347"/>
                <a:gd name="connsiteY4" fmla="*/ 137461 h 499892"/>
                <a:gd name="connsiteX5" fmla="*/ 130527 w 396347"/>
                <a:gd name="connsiteY5" fmla="*/ 499892 h 49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347" h="499892">
                  <a:moveTo>
                    <a:pt x="130527" y="499892"/>
                  </a:moveTo>
                  <a:cubicBezTo>
                    <a:pt x="18754" y="431737"/>
                    <a:pt x="-28468" y="296775"/>
                    <a:pt x="17407" y="176586"/>
                  </a:cubicBezTo>
                  <a:cubicBezTo>
                    <a:pt x="62000" y="59755"/>
                    <a:pt x="182954" y="-12411"/>
                    <a:pt x="310408" y="1770"/>
                  </a:cubicBezTo>
                  <a:lnTo>
                    <a:pt x="396347" y="135556"/>
                  </a:lnTo>
                  <a:lnTo>
                    <a:pt x="230612" y="137461"/>
                  </a:lnTo>
                  <a:lnTo>
                    <a:pt x="130527" y="499892"/>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8" name="Rechteck 65"/>
            <p:cNvSpPr/>
            <p:nvPr/>
          </p:nvSpPr>
          <p:spPr>
            <a:xfrm>
              <a:off x="3757158" y="2689313"/>
              <a:ext cx="214844" cy="38611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 name="connsiteX0" fmla="*/ 0 w 186093"/>
                <a:gd name="connsiteY0" fmla="*/ 0 h 394718"/>
                <a:gd name="connsiteX1" fmla="*/ 94653 w 186093"/>
                <a:gd name="connsiteY1" fmla="*/ 70931 h 394718"/>
                <a:gd name="connsiteX2" fmla="*/ 186093 w 186093"/>
                <a:gd name="connsiteY2" fmla="*/ 372684 h 394718"/>
                <a:gd name="connsiteX3" fmla="*/ 0 w 186093"/>
                <a:gd name="connsiteY3" fmla="*/ 394718 h 394718"/>
                <a:gd name="connsiteX4" fmla="*/ 0 w 186093"/>
                <a:gd name="connsiteY4" fmla="*/ 0 h 394718"/>
                <a:gd name="connsiteX0" fmla="*/ 0 w 186093"/>
                <a:gd name="connsiteY0" fmla="*/ 0 h 394718"/>
                <a:gd name="connsiteX1" fmla="*/ 92748 w 186093"/>
                <a:gd name="connsiteY1" fmla="*/ 87431 h 394718"/>
                <a:gd name="connsiteX2" fmla="*/ 186093 w 186093"/>
                <a:gd name="connsiteY2" fmla="*/ 372684 h 394718"/>
                <a:gd name="connsiteX3" fmla="*/ 0 w 186093"/>
                <a:gd name="connsiteY3" fmla="*/ 394718 h 394718"/>
                <a:gd name="connsiteX4" fmla="*/ 0 w 186093"/>
                <a:gd name="connsiteY4" fmla="*/ 0 h 394718"/>
                <a:gd name="connsiteX0" fmla="*/ 0 w 197523"/>
                <a:gd name="connsiteY0" fmla="*/ 0 h 418062"/>
                <a:gd name="connsiteX1" fmla="*/ 92748 w 197523"/>
                <a:gd name="connsiteY1" fmla="*/ 87431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21499 w 197523"/>
                <a:gd name="connsiteY2" fmla="*/ 247194 h 418062"/>
                <a:gd name="connsiteX3" fmla="*/ 197523 w 197523"/>
                <a:gd name="connsiteY3" fmla="*/ 418062 h 418062"/>
                <a:gd name="connsiteX4" fmla="*/ 0 w 197523"/>
                <a:gd name="connsiteY4" fmla="*/ 394718 h 418062"/>
                <a:gd name="connsiteX5" fmla="*/ 0 w 197523"/>
                <a:gd name="connsiteY5" fmla="*/ 0 h 418062"/>
                <a:gd name="connsiteX0" fmla="*/ 0 w 214844"/>
                <a:gd name="connsiteY0" fmla="*/ 0 h 418062"/>
                <a:gd name="connsiteX1" fmla="*/ 109893 w 214844"/>
                <a:gd name="connsiteY1" fmla="*/ 213250 h 418062"/>
                <a:gd name="connsiteX2" fmla="*/ 214844 w 214844"/>
                <a:gd name="connsiteY2" fmla="*/ 224506 h 418062"/>
                <a:gd name="connsiteX3" fmla="*/ 197523 w 214844"/>
                <a:gd name="connsiteY3" fmla="*/ 418062 h 418062"/>
                <a:gd name="connsiteX4" fmla="*/ 0 w 214844"/>
                <a:gd name="connsiteY4" fmla="*/ 394718 h 418062"/>
                <a:gd name="connsiteX5" fmla="*/ 0 w 214844"/>
                <a:gd name="connsiteY5" fmla="*/ 0 h 4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844" h="418062">
                  <a:moveTo>
                    <a:pt x="0" y="0"/>
                  </a:moveTo>
                  <a:lnTo>
                    <a:pt x="109893" y="213250"/>
                  </a:lnTo>
                  <a:lnTo>
                    <a:pt x="214844" y="224506"/>
                  </a:lnTo>
                  <a:lnTo>
                    <a:pt x="197523" y="418062"/>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9" name="Akkord 38"/>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0" name="Rechteck 39"/>
            <p:cNvSpPr/>
            <p:nvPr/>
          </p:nvSpPr>
          <p:spPr>
            <a:xfrm>
              <a:off x="3647986" y="2564904"/>
              <a:ext cx="536173" cy="694948"/>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5</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85" name="Gruppieren 84"/>
          <p:cNvGrpSpPr/>
          <p:nvPr/>
        </p:nvGrpSpPr>
        <p:grpSpPr>
          <a:xfrm>
            <a:off x="588353" y="5599733"/>
            <a:ext cx="376724" cy="461665"/>
            <a:chOff x="3627089" y="2564904"/>
            <a:chExt cx="567086" cy="694948"/>
          </a:xfrm>
        </p:grpSpPr>
        <p:sp>
          <p:nvSpPr>
            <p:cNvPr id="86" name="Ellipse 85"/>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87" name="Akkord 86"/>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88" name="Akkord 101"/>
            <p:cNvSpPr/>
            <p:nvPr/>
          </p:nvSpPr>
          <p:spPr>
            <a:xfrm>
              <a:off x="3627089" y="2620139"/>
              <a:ext cx="396347" cy="499892"/>
            </a:xfrm>
            <a:custGeom>
              <a:avLst/>
              <a:gdLst>
                <a:gd name="connsiteX0" fmla="*/ 130497 w 557325"/>
                <a:gd name="connsiteY0" fmla="*/ 499880 h 541309"/>
                <a:gd name="connsiteX1" fmla="*/ 17377 w 557325"/>
                <a:gd name="connsiteY1" fmla="*/ 176574 h 541309"/>
                <a:gd name="connsiteX2" fmla="*/ 310378 w 557325"/>
                <a:gd name="connsiteY2" fmla="*/ 1758 h 541309"/>
                <a:gd name="connsiteX3" fmla="*/ 130497 w 557325"/>
                <a:gd name="connsiteY3" fmla="*/ 499880 h 541309"/>
                <a:gd name="connsiteX0" fmla="*/ 130527 w 310408"/>
                <a:gd name="connsiteY0" fmla="*/ 499892 h 499892"/>
                <a:gd name="connsiteX1" fmla="*/ 17407 w 310408"/>
                <a:gd name="connsiteY1" fmla="*/ 176586 h 499892"/>
                <a:gd name="connsiteX2" fmla="*/ 310408 w 310408"/>
                <a:gd name="connsiteY2" fmla="*/ 1770 h 499892"/>
                <a:gd name="connsiteX3" fmla="*/ 280142 w 310408"/>
                <a:gd name="connsiteY3" fmla="*/ 76501 h 499892"/>
                <a:gd name="connsiteX4" fmla="*/ 130527 w 310408"/>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130527 w 396347"/>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331577 w 396347"/>
                <a:gd name="connsiteY4" fmla="*/ 226996 h 499892"/>
                <a:gd name="connsiteX5" fmla="*/ 130527 w 396347"/>
                <a:gd name="connsiteY5"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230612 w 396347"/>
                <a:gd name="connsiteY4" fmla="*/ 137461 h 499892"/>
                <a:gd name="connsiteX5" fmla="*/ 130527 w 396347"/>
                <a:gd name="connsiteY5" fmla="*/ 499892 h 49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347" h="499892">
                  <a:moveTo>
                    <a:pt x="130527" y="499892"/>
                  </a:moveTo>
                  <a:cubicBezTo>
                    <a:pt x="18754" y="431737"/>
                    <a:pt x="-28468" y="296775"/>
                    <a:pt x="17407" y="176586"/>
                  </a:cubicBezTo>
                  <a:cubicBezTo>
                    <a:pt x="62000" y="59755"/>
                    <a:pt x="182954" y="-12411"/>
                    <a:pt x="310408" y="1770"/>
                  </a:cubicBezTo>
                  <a:lnTo>
                    <a:pt x="396347" y="135556"/>
                  </a:lnTo>
                  <a:lnTo>
                    <a:pt x="230612" y="137461"/>
                  </a:lnTo>
                  <a:lnTo>
                    <a:pt x="130527" y="499892"/>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89" name="Rechteck 65"/>
            <p:cNvSpPr/>
            <p:nvPr/>
          </p:nvSpPr>
          <p:spPr>
            <a:xfrm>
              <a:off x="3757158" y="2689313"/>
              <a:ext cx="214844" cy="38611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 name="connsiteX0" fmla="*/ 0 w 186093"/>
                <a:gd name="connsiteY0" fmla="*/ 0 h 394718"/>
                <a:gd name="connsiteX1" fmla="*/ 94653 w 186093"/>
                <a:gd name="connsiteY1" fmla="*/ 70931 h 394718"/>
                <a:gd name="connsiteX2" fmla="*/ 186093 w 186093"/>
                <a:gd name="connsiteY2" fmla="*/ 372684 h 394718"/>
                <a:gd name="connsiteX3" fmla="*/ 0 w 186093"/>
                <a:gd name="connsiteY3" fmla="*/ 394718 h 394718"/>
                <a:gd name="connsiteX4" fmla="*/ 0 w 186093"/>
                <a:gd name="connsiteY4" fmla="*/ 0 h 394718"/>
                <a:gd name="connsiteX0" fmla="*/ 0 w 186093"/>
                <a:gd name="connsiteY0" fmla="*/ 0 h 394718"/>
                <a:gd name="connsiteX1" fmla="*/ 92748 w 186093"/>
                <a:gd name="connsiteY1" fmla="*/ 87431 h 394718"/>
                <a:gd name="connsiteX2" fmla="*/ 186093 w 186093"/>
                <a:gd name="connsiteY2" fmla="*/ 372684 h 394718"/>
                <a:gd name="connsiteX3" fmla="*/ 0 w 186093"/>
                <a:gd name="connsiteY3" fmla="*/ 394718 h 394718"/>
                <a:gd name="connsiteX4" fmla="*/ 0 w 186093"/>
                <a:gd name="connsiteY4" fmla="*/ 0 h 394718"/>
                <a:gd name="connsiteX0" fmla="*/ 0 w 197523"/>
                <a:gd name="connsiteY0" fmla="*/ 0 h 418062"/>
                <a:gd name="connsiteX1" fmla="*/ 92748 w 197523"/>
                <a:gd name="connsiteY1" fmla="*/ 87431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21499 w 197523"/>
                <a:gd name="connsiteY2" fmla="*/ 247194 h 418062"/>
                <a:gd name="connsiteX3" fmla="*/ 197523 w 197523"/>
                <a:gd name="connsiteY3" fmla="*/ 418062 h 418062"/>
                <a:gd name="connsiteX4" fmla="*/ 0 w 197523"/>
                <a:gd name="connsiteY4" fmla="*/ 394718 h 418062"/>
                <a:gd name="connsiteX5" fmla="*/ 0 w 197523"/>
                <a:gd name="connsiteY5" fmla="*/ 0 h 418062"/>
                <a:gd name="connsiteX0" fmla="*/ 0 w 214844"/>
                <a:gd name="connsiteY0" fmla="*/ 0 h 418062"/>
                <a:gd name="connsiteX1" fmla="*/ 109893 w 214844"/>
                <a:gd name="connsiteY1" fmla="*/ 213250 h 418062"/>
                <a:gd name="connsiteX2" fmla="*/ 214844 w 214844"/>
                <a:gd name="connsiteY2" fmla="*/ 224506 h 418062"/>
                <a:gd name="connsiteX3" fmla="*/ 197523 w 214844"/>
                <a:gd name="connsiteY3" fmla="*/ 418062 h 418062"/>
                <a:gd name="connsiteX4" fmla="*/ 0 w 214844"/>
                <a:gd name="connsiteY4" fmla="*/ 394718 h 418062"/>
                <a:gd name="connsiteX5" fmla="*/ 0 w 214844"/>
                <a:gd name="connsiteY5" fmla="*/ 0 h 4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844" h="418062">
                  <a:moveTo>
                    <a:pt x="0" y="0"/>
                  </a:moveTo>
                  <a:lnTo>
                    <a:pt x="109893" y="213250"/>
                  </a:lnTo>
                  <a:lnTo>
                    <a:pt x="214844" y="224506"/>
                  </a:lnTo>
                  <a:lnTo>
                    <a:pt x="197523" y="418062"/>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90" name="Akkord 89"/>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91" name="Rechteck 90"/>
            <p:cNvSpPr/>
            <p:nvPr/>
          </p:nvSpPr>
          <p:spPr>
            <a:xfrm>
              <a:off x="3647986" y="2564904"/>
              <a:ext cx="536173" cy="694948"/>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6</a:t>
              </a:r>
              <a:endParaRPr lang="en-US" sz="240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053686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Expenditures from Gross Profit to EBIT Total Cost Method (Planning)</a:t>
            </a:r>
          </a:p>
        </p:txBody>
      </p:sp>
      <p:sp>
        <p:nvSpPr>
          <p:cNvPr id="4" name="Titel 3"/>
          <p:cNvSpPr>
            <a:spLocks noGrp="1"/>
          </p:cNvSpPr>
          <p:nvPr>
            <p:ph type="title"/>
          </p:nvPr>
        </p:nvSpPr>
        <p:spPr/>
        <p:txBody>
          <a:bodyPr/>
          <a:lstStyle/>
          <a:p>
            <a:r>
              <a:rPr lang="en-US" dirty="0" smtClean="0"/>
              <a:t>Overview (5/6) – Core issue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421877554"/>
              </p:ext>
            </p:extLst>
          </p:nvPr>
        </p:nvGraphicFramePr>
        <p:xfrm>
          <a:off x="488950" y="1422400"/>
          <a:ext cx="8928100" cy="4179236"/>
        </p:xfrm>
        <a:graphic>
          <a:graphicData uri="http://schemas.openxmlformats.org/drawingml/2006/table">
            <a:tbl>
              <a:tblPr firstRow="1" bandRow="1">
                <a:tableStyleId>{5C22544A-7EE6-4342-B048-85BDC9FD1C3A}</a:tableStyleId>
              </a:tblPr>
              <a:tblGrid>
                <a:gridCol w="2421304"/>
                <a:gridCol w="5928946"/>
                <a:gridCol w="577850"/>
              </a:tblGrid>
              <a:tr h="288000">
                <a:tc>
                  <a:txBody>
                    <a:bodyPr/>
                    <a:lstStyle/>
                    <a:p>
                      <a:pPr marL="0" indent="0">
                        <a:lnSpc>
                          <a:spcPct val="95000"/>
                        </a:lnSpc>
                        <a:spcBef>
                          <a:spcPts val="0"/>
                        </a:spcBef>
                        <a:spcAft>
                          <a:spcPts val="0"/>
                        </a:spcAft>
                        <a:buNone/>
                        <a:tabLst>
                          <a:tab pos="176213" algn="l"/>
                        </a:tabLst>
                      </a:pPr>
                      <a:r>
                        <a:rPr lang="en-US" sz="900" b="1" dirty="0" smtClean="0">
                          <a:solidFill>
                            <a:schemeClr val="bg1"/>
                          </a:solidFill>
                        </a:rPr>
                        <a:t>Core Issue</a:t>
                      </a:r>
                      <a:endParaRPr lang="en-US" sz="900" b="1" dirty="0">
                        <a:solidFill>
                          <a:schemeClr val="bg1"/>
                        </a:solidFill>
                      </a:endParaRP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analysi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588" marR="0" lvl="0" indent="-1588" algn="ctr"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age(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540000">
                <a:tc>
                  <a:txBody>
                    <a:bodyPr/>
                    <a:lstStyle/>
                    <a:p>
                      <a:pPr marL="216000" indent="-216000">
                        <a:lnSpc>
                          <a:spcPct val="95000"/>
                        </a:lnSpc>
                        <a:spcBef>
                          <a:spcPts val="0"/>
                        </a:spcBef>
                        <a:spcAft>
                          <a:spcPts val="200"/>
                        </a:spcAft>
                        <a:buAutoNum type="arabicPeriod"/>
                        <a:tabLst>
                          <a:tab pos="176213" algn="l"/>
                        </a:tabLst>
                      </a:pPr>
                      <a:r>
                        <a:rPr lang="en-US" sz="900" b="1" dirty="0" smtClean="0">
                          <a:solidFill>
                            <a:schemeClr val="bg1"/>
                          </a:solidFill>
                        </a:rPr>
                        <a:t>Are the planned expenditures, cost/income ratios and the resulting planned profit margins plausible developments from the past?</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Comparison of planned margins with the margins attained in the past</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Analysis of significant drivers (e.g. price and volume effects, portfolio effects, main effects, etc.) and checking of plausible development or assumptions</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What types of expenditures should contribute to changes in margins (analysis of type of expenditure in % of sales over time per type of expense)</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Analysis of operational leverage (percentage of fixed vs. variable, fixed cost digression), possible scale effects, etc. over time based on past analysis</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Are cost reductions (and increases in margins) based on corresponding measures? Have these measures already been decided upon/approved?</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Transition of the previous actual year to planning year(s) – e.g. Waterfall Chart</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Link to Sales and Gross Profit workbook, Normalized Earnings workbook)</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9 – 15</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r>
              <a:tr h="540000">
                <a:tc>
                  <a:txBody>
                    <a:bodyPr/>
                    <a:lstStyle/>
                    <a:p>
                      <a:pPr marL="216000" indent="-216000">
                        <a:lnSpc>
                          <a:spcPct val="95000"/>
                        </a:lnSpc>
                        <a:spcBef>
                          <a:spcPts val="0"/>
                        </a:spcBef>
                        <a:spcAft>
                          <a:spcPts val="200"/>
                        </a:spcAft>
                        <a:buClr>
                          <a:schemeClr val="tx2"/>
                        </a:buClr>
                        <a:tabLst>
                          <a:tab pos="176213" algn="l"/>
                        </a:tabLst>
                      </a:pPr>
                      <a:r>
                        <a:rPr lang="en-US" sz="900" b="1" kern="1200" dirty="0" smtClean="0">
                          <a:solidFill>
                            <a:schemeClr val="bg1"/>
                          </a:solidFill>
                          <a:latin typeface="+mn-lt"/>
                          <a:ea typeface="+mn-ea"/>
                          <a:cs typeface="+mn-cs"/>
                        </a:rPr>
                        <a:t>2. 		Are the planned types of expenditures and the resulting margins consistent with the market expectation and competitors?</a:t>
                      </a:r>
                    </a:p>
                    <a:p>
                      <a:pPr marL="216000" indent="-216000">
                        <a:lnSpc>
                          <a:spcPct val="95000"/>
                        </a:lnSpc>
                        <a:spcBef>
                          <a:spcPts val="0"/>
                        </a:spcBef>
                        <a:spcAft>
                          <a:spcPts val="200"/>
                        </a:spcAft>
                        <a:buClr>
                          <a:schemeClr val="tx2"/>
                        </a:buClr>
                        <a:tabLst>
                          <a:tab pos="176213" algn="l"/>
                        </a:tabLst>
                      </a:pPr>
                      <a:endParaRPr lang="en-US" sz="900" b="1" kern="1200" dirty="0" smtClean="0">
                        <a:solidFill>
                          <a:schemeClr val="bg1"/>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Compare expense planning (e.g. personnel costs per FTE, in % of sales and similar) as well as resulting margins (EBITDA, EBIT margins) to market studies, analyst expectations, KPIs from peer group companies (benchmarking)</a:t>
                      </a:r>
                      <a:b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b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Note: pay attention to uniform definition and if necessary balancing (Opex vs. Capex) of costs as well as profit margins with peers and the companies!</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Identify, analyze and justify explanation for possible deviations to market expectation (e.g. balancing, leasing, scale effects, etc.)</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mn-cs"/>
                        </a:rPr>
                        <a:t>16</a:t>
                      </a:r>
                      <a:endPar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r>
              <a:tr h="1152000">
                <a:tc>
                  <a:txBody>
                    <a:bodyPr/>
                    <a:lstStyle/>
                    <a:p>
                      <a:pPr marL="216000" indent="-216000">
                        <a:lnSpc>
                          <a:spcPct val="95000"/>
                        </a:lnSpc>
                        <a:spcBef>
                          <a:spcPts val="0"/>
                        </a:spcBef>
                        <a:spcAft>
                          <a:spcPts val="200"/>
                        </a:spcAft>
                        <a:buAutoNum type="arabicPeriod" startAt="3"/>
                        <a:tabLst>
                          <a:tab pos="176213" algn="l"/>
                        </a:tabLst>
                      </a:pPr>
                      <a:r>
                        <a:rPr lang="en-US" sz="900" b="1" kern="1200" dirty="0" smtClean="0">
                          <a:solidFill>
                            <a:schemeClr val="bg1"/>
                          </a:solidFill>
                          <a:latin typeface="+mn-lt"/>
                          <a:ea typeface="+mn-ea"/>
                          <a:cs typeface="+mn-cs"/>
                        </a:rPr>
                        <a:t>Does the current trading/LTM or the current forecast support the cost and profit planning?</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Compare current trading (if necessary, extrapolation for entire year) or current forecast with costs and profit margin planning</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lang="en-US" sz="900" dirty="0" smtClean="0">
                          <a:solidFill>
                            <a:schemeClr val="bg1"/>
                          </a:solidFill>
                        </a:rPr>
                        <a:t>17</a:t>
                      </a:r>
                      <a:r>
                        <a:rPr lang="en-US" sz="900" baseline="0" dirty="0" smtClean="0">
                          <a:solidFill>
                            <a:schemeClr val="bg1"/>
                          </a:solidFill>
                        </a:rPr>
                        <a:t> - 19</a:t>
                      </a:r>
                      <a:endParaRPr lang="en-US" sz="900" dirty="0" smtClean="0">
                        <a:solidFill>
                          <a:schemeClr val="bg1"/>
                        </a:solidFill>
                      </a:endParaRPr>
                    </a:p>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endPar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r>
            </a:tbl>
          </a:graphicData>
        </a:graphic>
      </p:graphicFrame>
      <p:pic>
        <p:nvPicPr>
          <p:cNvPr id="2" name="Grafik 1"/>
          <p:cNvPicPr>
            <a:picLocks noChangeAspect="1"/>
          </p:cNvPicPr>
          <p:nvPr/>
        </p:nvPicPr>
        <p:blipFill>
          <a:blip r:embed="rId3"/>
          <a:stretch>
            <a:fillRect/>
          </a:stretch>
        </p:blipFill>
        <p:spPr>
          <a:xfrm>
            <a:off x="1118382" y="3072916"/>
            <a:ext cx="340197" cy="405178"/>
          </a:xfrm>
          <a:prstGeom prst="rect">
            <a:avLst/>
          </a:prstGeom>
        </p:spPr>
      </p:pic>
      <p:pic>
        <p:nvPicPr>
          <p:cNvPr id="5" name="Grafik 4"/>
          <p:cNvPicPr>
            <a:picLocks noChangeAspect="1"/>
          </p:cNvPicPr>
          <p:nvPr/>
        </p:nvPicPr>
        <p:blipFill>
          <a:blip r:embed="rId4"/>
          <a:stretch>
            <a:fillRect/>
          </a:stretch>
        </p:blipFill>
        <p:spPr>
          <a:xfrm>
            <a:off x="1407290" y="3072916"/>
            <a:ext cx="340197" cy="405178"/>
          </a:xfrm>
          <a:prstGeom prst="rect">
            <a:avLst/>
          </a:prstGeom>
        </p:spPr>
      </p:pic>
      <p:pic>
        <p:nvPicPr>
          <p:cNvPr id="7" name="Grafik 6"/>
          <p:cNvPicPr>
            <a:picLocks noChangeAspect="1"/>
          </p:cNvPicPr>
          <p:nvPr/>
        </p:nvPicPr>
        <p:blipFill>
          <a:blip r:embed="rId5"/>
          <a:stretch>
            <a:fillRect/>
          </a:stretch>
        </p:blipFill>
        <p:spPr>
          <a:xfrm>
            <a:off x="1696198" y="3072916"/>
            <a:ext cx="340197" cy="405178"/>
          </a:xfrm>
          <a:prstGeom prst="rect">
            <a:avLst/>
          </a:prstGeom>
        </p:spPr>
      </p:pic>
      <p:pic>
        <p:nvPicPr>
          <p:cNvPr id="83" name="Grafik 82"/>
          <p:cNvPicPr>
            <a:picLocks noChangeAspect="1"/>
          </p:cNvPicPr>
          <p:nvPr/>
        </p:nvPicPr>
        <p:blipFill>
          <a:blip r:embed="rId6"/>
          <a:stretch>
            <a:fillRect/>
          </a:stretch>
        </p:blipFill>
        <p:spPr>
          <a:xfrm>
            <a:off x="1985106" y="3072916"/>
            <a:ext cx="340197" cy="405178"/>
          </a:xfrm>
          <a:prstGeom prst="rect">
            <a:avLst/>
          </a:prstGeom>
        </p:spPr>
      </p:pic>
      <p:pic>
        <p:nvPicPr>
          <p:cNvPr id="91" name="Grafik 90"/>
          <p:cNvPicPr>
            <a:picLocks noChangeAspect="1"/>
          </p:cNvPicPr>
          <p:nvPr/>
        </p:nvPicPr>
        <p:blipFill>
          <a:blip r:embed="rId7"/>
          <a:stretch>
            <a:fillRect/>
          </a:stretch>
        </p:blipFill>
        <p:spPr>
          <a:xfrm>
            <a:off x="2274014" y="3072916"/>
            <a:ext cx="340197" cy="405178"/>
          </a:xfrm>
          <a:prstGeom prst="rect">
            <a:avLst/>
          </a:prstGeom>
        </p:spPr>
      </p:pic>
      <p:pic>
        <p:nvPicPr>
          <p:cNvPr id="99" name="Grafik 98"/>
          <p:cNvPicPr>
            <a:picLocks noChangeAspect="1"/>
          </p:cNvPicPr>
          <p:nvPr/>
        </p:nvPicPr>
        <p:blipFill>
          <a:blip r:embed="rId8"/>
          <a:stretch>
            <a:fillRect/>
          </a:stretch>
        </p:blipFill>
        <p:spPr>
          <a:xfrm>
            <a:off x="2562924" y="3072916"/>
            <a:ext cx="340197" cy="405178"/>
          </a:xfrm>
          <a:prstGeom prst="rect">
            <a:avLst/>
          </a:prstGeom>
        </p:spPr>
      </p:pic>
      <p:sp>
        <p:nvSpPr>
          <p:cNvPr id="100" name="Textfeld 99"/>
          <p:cNvSpPr txBox="1"/>
          <p:nvPr/>
        </p:nvSpPr>
        <p:spPr>
          <a:xfrm>
            <a:off x="483577" y="3147648"/>
            <a:ext cx="931984" cy="334108"/>
          </a:xfrm>
          <a:prstGeom prst="rect">
            <a:avLst/>
          </a:prstGeom>
          <a:noFill/>
        </p:spPr>
        <p:txBody>
          <a:bodyPr wrap="square" lIns="54610" tIns="54610" rIns="54610" bIns="54610" rtlCol="0">
            <a:noAutofit/>
          </a:bodyPr>
          <a:lstStyle/>
          <a:p>
            <a:pPr>
              <a:spcAft>
                <a:spcPts val="600"/>
              </a:spcAft>
            </a:pPr>
            <a:r>
              <a:rPr lang="en-US" sz="1000" b="1" dirty="0" smtClean="0">
                <a:solidFill>
                  <a:schemeClr val="accent5"/>
                </a:solidFill>
              </a:rPr>
              <a:t>360° CQ</a:t>
            </a:r>
          </a:p>
        </p:txBody>
      </p:sp>
      <p:sp>
        <p:nvSpPr>
          <p:cNvPr id="101" name="Textfeld 100"/>
          <p:cNvSpPr txBox="1"/>
          <p:nvPr/>
        </p:nvSpPr>
        <p:spPr>
          <a:xfrm>
            <a:off x="488950" y="4198102"/>
            <a:ext cx="931984" cy="334108"/>
          </a:xfrm>
          <a:prstGeom prst="rect">
            <a:avLst/>
          </a:prstGeom>
          <a:noFill/>
        </p:spPr>
        <p:txBody>
          <a:bodyPr wrap="square" lIns="54610" tIns="54610" rIns="54610" bIns="54610" rtlCol="0">
            <a:noAutofit/>
          </a:bodyPr>
          <a:lstStyle/>
          <a:p>
            <a:pPr>
              <a:spcAft>
                <a:spcPts val="600"/>
              </a:spcAft>
            </a:pPr>
            <a:r>
              <a:rPr lang="en-US" sz="1000" b="1" dirty="0" smtClean="0">
                <a:solidFill>
                  <a:schemeClr val="accent5"/>
                </a:solidFill>
              </a:rPr>
              <a:t>360° CQ</a:t>
            </a:r>
          </a:p>
        </p:txBody>
      </p:sp>
      <p:sp>
        <p:nvSpPr>
          <p:cNvPr id="102" name="Textfeld 101"/>
          <p:cNvSpPr txBox="1"/>
          <p:nvPr/>
        </p:nvSpPr>
        <p:spPr>
          <a:xfrm>
            <a:off x="480158" y="5354170"/>
            <a:ext cx="931984" cy="334108"/>
          </a:xfrm>
          <a:prstGeom prst="rect">
            <a:avLst/>
          </a:prstGeom>
          <a:noFill/>
        </p:spPr>
        <p:txBody>
          <a:bodyPr wrap="square" lIns="54610" tIns="54610" rIns="54610" bIns="54610" rtlCol="0">
            <a:noAutofit/>
          </a:bodyPr>
          <a:lstStyle/>
          <a:p>
            <a:pPr>
              <a:spcAft>
                <a:spcPts val="600"/>
              </a:spcAft>
            </a:pPr>
            <a:r>
              <a:rPr lang="en-US" sz="1000" b="1" dirty="0" smtClean="0">
                <a:solidFill>
                  <a:schemeClr val="accent5"/>
                </a:solidFill>
              </a:rPr>
              <a:t>360° CQ</a:t>
            </a:r>
          </a:p>
        </p:txBody>
      </p:sp>
      <p:pic>
        <p:nvPicPr>
          <p:cNvPr id="103" name="Grafik 102"/>
          <p:cNvPicPr>
            <a:picLocks noChangeAspect="1"/>
          </p:cNvPicPr>
          <p:nvPr/>
        </p:nvPicPr>
        <p:blipFill>
          <a:blip r:embed="rId3"/>
          <a:stretch>
            <a:fillRect/>
          </a:stretch>
        </p:blipFill>
        <p:spPr>
          <a:xfrm>
            <a:off x="1696198" y="4104048"/>
            <a:ext cx="340197" cy="405178"/>
          </a:xfrm>
          <a:prstGeom prst="rect">
            <a:avLst/>
          </a:prstGeom>
        </p:spPr>
      </p:pic>
      <p:pic>
        <p:nvPicPr>
          <p:cNvPr id="104" name="Grafik 103"/>
          <p:cNvPicPr>
            <a:picLocks noChangeAspect="1"/>
          </p:cNvPicPr>
          <p:nvPr/>
        </p:nvPicPr>
        <p:blipFill>
          <a:blip r:embed="rId4"/>
          <a:stretch>
            <a:fillRect/>
          </a:stretch>
        </p:blipFill>
        <p:spPr>
          <a:xfrm>
            <a:off x="1985106" y="4104048"/>
            <a:ext cx="340197" cy="405178"/>
          </a:xfrm>
          <a:prstGeom prst="rect">
            <a:avLst/>
          </a:prstGeom>
        </p:spPr>
      </p:pic>
      <p:pic>
        <p:nvPicPr>
          <p:cNvPr id="105" name="Grafik 104"/>
          <p:cNvPicPr>
            <a:picLocks noChangeAspect="1"/>
          </p:cNvPicPr>
          <p:nvPr/>
        </p:nvPicPr>
        <p:blipFill>
          <a:blip r:embed="rId5"/>
          <a:stretch>
            <a:fillRect/>
          </a:stretch>
        </p:blipFill>
        <p:spPr>
          <a:xfrm>
            <a:off x="2274014" y="4104048"/>
            <a:ext cx="340197" cy="405178"/>
          </a:xfrm>
          <a:prstGeom prst="rect">
            <a:avLst/>
          </a:prstGeom>
        </p:spPr>
      </p:pic>
      <p:pic>
        <p:nvPicPr>
          <p:cNvPr id="107" name="Grafik 106"/>
          <p:cNvPicPr>
            <a:picLocks noChangeAspect="1"/>
          </p:cNvPicPr>
          <p:nvPr/>
        </p:nvPicPr>
        <p:blipFill>
          <a:blip r:embed="rId7"/>
          <a:stretch>
            <a:fillRect/>
          </a:stretch>
        </p:blipFill>
        <p:spPr>
          <a:xfrm>
            <a:off x="2562924" y="4104048"/>
            <a:ext cx="340197" cy="405178"/>
          </a:xfrm>
          <a:prstGeom prst="rect">
            <a:avLst/>
          </a:prstGeom>
        </p:spPr>
      </p:pic>
      <p:pic>
        <p:nvPicPr>
          <p:cNvPr id="109" name="Grafik 108"/>
          <p:cNvPicPr>
            <a:picLocks noChangeAspect="1"/>
          </p:cNvPicPr>
          <p:nvPr/>
        </p:nvPicPr>
        <p:blipFill>
          <a:blip r:embed="rId5"/>
          <a:stretch>
            <a:fillRect/>
          </a:stretch>
        </p:blipFill>
        <p:spPr>
          <a:xfrm>
            <a:off x="2274014" y="5266402"/>
            <a:ext cx="340197" cy="405178"/>
          </a:xfrm>
          <a:prstGeom prst="rect">
            <a:avLst/>
          </a:prstGeom>
        </p:spPr>
      </p:pic>
      <p:pic>
        <p:nvPicPr>
          <p:cNvPr id="110" name="Grafik 109"/>
          <p:cNvPicPr>
            <a:picLocks noChangeAspect="1"/>
          </p:cNvPicPr>
          <p:nvPr/>
        </p:nvPicPr>
        <p:blipFill>
          <a:blip r:embed="rId7"/>
          <a:stretch>
            <a:fillRect/>
          </a:stretch>
        </p:blipFill>
        <p:spPr>
          <a:xfrm>
            <a:off x="2562924" y="5266402"/>
            <a:ext cx="340197" cy="405178"/>
          </a:xfrm>
          <a:prstGeom prst="rect">
            <a:avLst/>
          </a:prstGeom>
        </p:spPr>
      </p:pic>
    </p:spTree>
    <p:extLst>
      <p:ext uri="{BB962C8B-B14F-4D97-AF65-F5344CB8AC3E}">
        <p14:creationId xmlns:p14="http://schemas.microsoft.com/office/powerpoint/2010/main" val="262921601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Expenditures from Gross Profit to EBIT Total Cost Method (Planning)</a:t>
            </a:r>
          </a:p>
        </p:txBody>
      </p:sp>
      <p:sp>
        <p:nvSpPr>
          <p:cNvPr id="4" name="Titel 3"/>
          <p:cNvSpPr>
            <a:spLocks noGrp="1"/>
          </p:cNvSpPr>
          <p:nvPr>
            <p:ph type="title"/>
          </p:nvPr>
        </p:nvSpPr>
        <p:spPr/>
        <p:txBody>
          <a:bodyPr/>
          <a:lstStyle/>
          <a:p>
            <a:r>
              <a:rPr lang="en-US" dirty="0" smtClean="0"/>
              <a:t>Overview (6/6) – Core issue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2788730293"/>
              </p:ext>
            </p:extLst>
          </p:nvPr>
        </p:nvGraphicFramePr>
        <p:xfrm>
          <a:off x="488950" y="1422400"/>
          <a:ext cx="8928100" cy="4185432"/>
        </p:xfrm>
        <a:graphic>
          <a:graphicData uri="http://schemas.openxmlformats.org/drawingml/2006/table">
            <a:tbl>
              <a:tblPr firstRow="1" bandRow="1">
                <a:tableStyleId>{5C22544A-7EE6-4342-B048-85BDC9FD1C3A}</a:tableStyleId>
              </a:tblPr>
              <a:tblGrid>
                <a:gridCol w="2421304"/>
                <a:gridCol w="5928946"/>
                <a:gridCol w="577850"/>
              </a:tblGrid>
              <a:tr h="288000">
                <a:tc>
                  <a:txBody>
                    <a:bodyPr/>
                    <a:lstStyle/>
                    <a:p>
                      <a:pPr marL="0" indent="0">
                        <a:lnSpc>
                          <a:spcPct val="95000"/>
                        </a:lnSpc>
                        <a:spcBef>
                          <a:spcPts val="0"/>
                        </a:spcBef>
                        <a:spcAft>
                          <a:spcPts val="0"/>
                        </a:spcAft>
                        <a:buNone/>
                        <a:tabLst>
                          <a:tab pos="176213" algn="l"/>
                        </a:tabLst>
                      </a:pPr>
                      <a:r>
                        <a:rPr lang="en-US" sz="900" b="1" dirty="0" smtClean="0">
                          <a:solidFill>
                            <a:schemeClr val="bg1"/>
                          </a:solidFill>
                        </a:rPr>
                        <a:t>Core Issue</a:t>
                      </a:r>
                      <a:endParaRPr lang="en-US" sz="900" b="1" dirty="0">
                        <a:solidFill>
                          <a:schemeClr val="bg1"/>
                        </a:solidFill>
                      </a:endParaRP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analysi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588" marR="0" lvl="0" indent="-1588" algn="ctr"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age(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1368000">
                <a:tc>
                  <a:txBody>
                    <a:bodyPr/>
                    <a:lstStyle/>
                    <a:p>
                      <a:pPr marL="228600" indent="-228600">
                        <a:lnSpc>
                          <a:spcPct val="95000"/>
                        </a:lnSpc>
                        <a:spcBef>
                          <a:spcPts val="0"/>
                        </a:spcBef>
                        <a:spcAft>
                          <a:spcPts val="200"/>
                        </a:spcAft>
                        <a:buFont typeface="+mj-lt"/>
                        <a:buAutoNum type="arabicPeriod" startAt="4"/>
                        <a:tabLst>
                          <a:tab pos="176213" algn="l"/>
                        </a:tabLst>
                      </a:pPr>
                      <a:r>
                        <a:rPr lang="en-US" sz="900" b="1" dirty="0" smtClean="0">
                          <a:solidFill>
                            <a:schemeClr val="bg1"/>
                          </a:solidFill>
                        </a:rPr>
                        <a:t>Are the personnel costs planned plausibly?</a:t>
                      </a:r>
                    </a:p>
                    <a:p>
                      <a:pPr marL="432000" lvl="1" indent="-216000" algn="l" defTabSz="914400" rtl="0" eaLnBrk="1" latinLnBrk="0" hangingPunct="1">
                        <a:lnSpc>
                          <a:spcPct val="95000"/>
                        </a:lnSpc>
                        <a:spcBef>
                          <a:spcPts val="0"/>
                        </a:spcBef>
                        <a:spcAft>
                          <a:spcPts val="200"/>
                        </a:spcAft>
                        <a:buClr>
                          <a:schemeClr val="bg1"/>
                        </a:buClr>
                        <a:buFont typeface="Univers for KPMG Light" panose="020B0403020202020204" pitchFamily="34" charset="0"/>
                        <a:buChar char="—"/>
                        <a:tabLst>
                          <a:tab pos="176213" algn="l"/>
                        </a:tabLst>
                      </a:pPr>
                      <a:r>
                        <a:rPr lang="en-US" sz="900" b="0" kern="1200" dirty="0" smtClean="0">
                          <a:solidFill>
                            <a:schemeClr val="bg1"/>
                          </a:solidFill>
                          <a:latin typeface="+mn-lt"/>
                          <a:ea typeface="+mn-ea"/>
                          <a:cs typeface="+mn-cs"/>
                        </a:rPr>
                        <a:t>Is the headcount planning plausible in relation to the sales planning (sufficient capacity)?</a:t>
                      </a:r>
                    </a:p>
                    <a:p>
                      <a:pPr marL="432000" lvl="1" indent="-216000" algn="l" defTabSz="914400" rtl="0" eaLnBrk="1" latinLnBrk="0" hangingPunct="1">
                        <a:lnSpc>
                          <a:spcPct val="95000"/>
                        </a:lnSpc>
                        <a:spcBef>
                          <a:spcPts val="0"/>
                        </a:spcBef>
                        <a:spcAft>
                          <a:spcPts val="200"/>
                        </a:spcAft>
                        <a:buClr>
                          <a:schemeClr val="bg1"/>
                        </a:buClr>
                        <a:buFont typeface="Univers for KPMG Light" panose="020B0403020202020204" pitchFamily="34" charset="0"/>
                        <a:buChar char="—"/>
                        <a:tabLst>
                          <a:tab pos="176213" algn="l"/>
                        </a:tabLst>
                      </a:pPr>
                      <a:r>
                        <a:rPr lang="en-US" sz="900" b="0" kern="1200" dirty="0" smtClean="0">
                          <a:solidFill>
                            <a:schemeClr val="bg1"/>
                          </a:solidFill>
                          <a:latin typeface="+mn-lt"/>
                          <a:ea typeface="+mn-ea"/>
                          <a:cs typeface="+mn-cs"/>
                        </a:rPr>
                        <a:t>Have collective bargaining increases been given proper </a:t>
                      </a:r>
                      <a:br>
                        <a:rPr lang="en-US" sz="900" b="0" kern="1200" dirty="0" smtClean="0">
                          <a:solidFill>
                            <a:schemeClr val="bg1"/>
                          </a:solidFill>
                          <a:latin typeface="+mn-lt"/>
                          <a:ea typeface="+mn-ea"/>
                          <a:cs typeface="+mn-cs"/>
                        </a:rPr>
                      </a:br>
                      <a:r>
                        <a:rPr lang="en-US" sz="900" b="0" kern="1200" dirty="0" smtClean="0">
                          <a:solidFill>
                            <a:schemeClr val="bg1"/>
                          </a:solidFill>
                          <a:latin typeface="+mn-lt"/>
                          <a:ea typeface="+mn-ea"/>
                          <a:cs typeface="+mn-cs"/>
                        </a:rPr>
                        <a:t>consideration?</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Analysis of productivity per employee (e.g. earnings per employee) in course of planning with comparison to peers and past</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Analysis of personnel costs per employee in course of planning if applicable compared to peers and past and align with collective bargaining agreements</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Analysis of pension costs, semi-retirement arrangements, etc., if significant </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Analysis of restructuring programs, if relevant</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20 – 22</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r>
              <a:tr h="1224000">
                <a:tc>
                  <a:txBody>
                    <a:bodyPr/>
                    <a:lstStyle/>
                    <a:p>
                      <a:pPr marL="228600" indent="-228600">
                        <a:lnSpc>
                          <a:spcPct val="95000"/>
                        </a:lnSpc>
                        <a:spcBef>
                          <a:spcPts val="0"/>
                        </a:spcBef>
                        <a:spcAft>
                          <a:spcPts val="200"/>
                        </a:spcAft>
                        <a:buFont typeface="+mj-lt"/>
                        <a:buAutoNum type="arabicPeriod" startAt="5"/>
                        <a:tabLst>
                          <a:tab pos="176213" algn="l"/>
                        </a:tabLst>
                      </a:pPr>
                      <a:r>
                        <a:rPr lang="en-US" sz="900" b="1" dirty="0" smtClean="0">
                          <a:solidFill>
                            <a:schemeClr val="tx2"/>
                          </a:solidFill>
                        </a:rPr>
                        <a:t>Has other operating result been plausibly planned?</a:t>
                      </a:r>
                    </a:p>
                    <a:p>
                      <a:pPr marL="432000" lvl="1" indent="-216000">
                        <a:lnSpc>
                          <a:spcPct val="95000"/>
                        </a:lnSpc>
                        <a:spcBef>
                          <a:spcPts val="0"/>
                        </a:spcBef>
                        <a:spcAft>
                          <a:spcPts val="200"/>
                        </a:spcAft>
                        <a:buClr>
                          <a:schemeClr val="tx2"/>
                        </a:buClr>
                        <a:buFont typeface="Univers for KPMG Light" panose="020B0403020202020204" pitchFamily="34" charset="0"/>
                        <a:buChar char="—"/>
                        <a:tabLst>
                          <a:tab pos="176213" algn="l"/>
                        </a:tabLst>
                      </a:pPr>
                      <a:r>
                        <a:rPr lang="en-US" sz="900" b="0" dirty="0" smtClean="0">
                          <a:solidFill>
                            <a:schemeClr val="tx2"/>
                          </a:solidFill>
                        </a:rPr>
                        <a:t>Are “infrastructure expenses“ (e.g. IT, rent) consistent with the</a:t>
                      </a:r>
                      <a:br>
                        <a:rPr lang="en-US" sz="900" b="0" dirty="0" smtClean="0">
                          <a:solidFill>
                            <a:schemeClr val="tx2"/>
                          </a:solidFill>
                        </a:rPr>
                      </a:br>
                      <a:r>
                        <a:rPr lang="en-US" sz="900" b="0" dirty="0" smtClean="0">
                          <a:solidFill>
                            <a:schemeClr val="tx2"/>
                          </a:solidFill>
                        </a:rPr>
                        <a:t>capacities needed?</a:t>
                      </a:r>
                    </a:p>
                    <a:p>
                      <a:pPr marL="216000" indent="-216000">
                        <a:lnSpc>
                          <a:spcPct val="95000"/>
                        </a:lnSpc>
                        <a:spcBef>
                          <a:spcPts val="0"/>
                        </a:spcBef>
                        <a:spcAft>
                          <a:spcPts val="200"/>
                        </a:spcAft>
                        <a:buClr>
                          <a:schemeClr val="tx2"/>
                        </a:buClr>
                        <a:tabLst>
                          <a:tab pos="176213" algn="l"/>
                        </a:tabLst>
                      </a:pPr>
                      <a:endParaRPr lang="en-US" sz="900" b="1" kern="1200" dirty="0" smtClean="0">
                        <a:solidFill>
                          <a:schemeClr val="tx2"/>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composition of other operating result</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cost increases of the individual items</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Has the fixed/stepped character of the other operating result been reflected appropriately (scale effects, fixed cost digression, etc.)?</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dependencies of costs using KPIs, e.g. IT or rent per employee and such.</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restructuring programs, if relevant</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alysis of other operating income, especially if sales-dependent or special issues e.g. dissolution of provisions, liquidation of special items (no cash flow effect, assure consistency with balance sheet planning!) etc.</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23</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1116000">
                <a:tc>
                  <a:txBody>
                    <a:bodyPr/>
                    <a:lstStyle/>
                    <a:p>
                      <a:pPr marL="228600" indent="-228600" algn="l" defTabSz="914400" rtl="0" eaLnBrk="1" latinLnBrk="0" hangingPunct="1">
                        <a:lnSpc>
                          <a:spcPct val="95000"/>
                        </a:lnSpc>
                        <a:spcBef>
                          <a:spcPts val="0"/>
                        </a:spcBef>
                        <a:spcAft>
                          <a:spcPts val="200"/>
                        </a:spcAft>
                        <a:buClr>
                          <a:schemeClr val="bg1"/>
                        </a:buClr>
                        <a:buFont typeface="+mj-lt"/>
                        <a:buAutoNum type="arabicPeriod" startAt="6"/>
                        <a:tabLst>
                          <a:tab pos="176213" algn="l"/>
                        </a:tabLst>
                      </a:pPr>
                      <a:r>
                        <a:rPr lang="en-US" sz="900" b="1" kern="1200" dirty="0" smtClean="0">
                          <a:solidFill>
                            <a:schemeClr val="bg1"/>
                          </a:solidFill>
                          <a:latin typeface="+mn-lt"/>
                          <a:ea typeface="+mn-ea"/>
                          <a:cs typeface="+mn-cs"/>
                        </a:rPr>
                        <a:t>Has depreciation been plausibly planned?</a:t>
                      </a:r>
                    </a:p>
                    <a:p>
                      <a:pPr marL="216000" indent="-216000">
                        <a:lnSpc>
                          <a:spcPct val="95000"/>
                        </a:lnSpc>
                        <a:spcBef>
                          <a:spcPts val="0"/>
                        </a:spcBef>
                        <a:spcAft>
                          <a:spcPts val="200"/>
                        </a:spcAft>
                        <a:buClr>
                          <a:schemeClr val="tx2"/>
                        </a:buClr>
                        <a:tabLst>
                          <a:tab pos="176213" algn="l"/>
                        </a:tabLst>
                      </a:pPr>
                      <a:endParaRPr lang="en-US" sz="900" b="1" kern="1200" dirty="0" smtClean="0">
                        <a:solidFill>
                          <a:schemeClr val="bg1"/>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Analysis of differences in depreciation as of commercial and tax balance</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Assure that depreciation was considered in the same amount in the development of the fixed assets to avoid cash flow effect</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Simulation for existing fixed assets</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Depreciation planning for investments in the planning period on the basis of typical or useful lives applied to date</a:t>
                      </a:r>
                    </a:p>
                    <a:p>
                      <a:pPr marL="216000" marR="0" lvl="0" indent="-216000" algn="l" defTabSz="914400" rtl="0" eaLnBrk="1" fontAlgn="auto" latinLnBrk="0" hangingPunct="1">
                        <a:lnSpc>
                          <a:spcPct val="95000"/>
                        </a:lnSpc>
                        <a:spcBef>
                          <a:spcPts val="0"/>
                        </a:spcBef>
                        <a:spcAft>
                          <a:spcPts val="2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No cash flow effect, but relevant for correct derivation of taxe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mn-cs"/>
                        </a:rPr>
                        <a:t>24 - 26</a:t>
                      </a:r>
                      <a:endPar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r>
            </a:tbl>
          </a:graphicData>
        </a:graphic>
      </p:graphicFrame>
      <p:sp>
        <p:nvSpPr>
          <p:cNvPr id="20" name="Textfeld 19"/>
          <p:cNvSpPr txBox="1"/>
          <p:nvPr/>
        </p:nvSpPr>
        <p:spPr>
          <a:xfrm>
            <a:off x="480158" y="5371021"/>
            <a:ext cx="931984" cy="334108"/>
          </a:xfrm>
          <a:prstGeom prst="rect">
            <a:avLst/>
          </a:prstGeom>
          <a:noFill/>
        </p:spPr>
        <p:txBody>
          <a:bodyPr wrap="square" lIns="54610" tIns="54610" rIns="54610" bIns="54610" rtlCol="0">
            <a:noAutofit/>
          </a:bodyPr>
          <a:lstStyle/>
          <a:p>
            <a:pPr>
              <a:spcAft>
                <a:spcPts val="600"/>
              </a:spcAft>
            </a:pPr>
            <a:r>
              <a:rPr lang="en-US" sz="1000" b="1" dirty="0" smtClean="0">
                <a:solidFill>
                  <a:schemeClr val="accent5"/>
                </a:solidFill>
              </a:rPr>
              <a:t>360° CQ</a:t>
            </a:r>
          </a:p>
        </p:txBody>
      </p:sp>
      <p:pic>
        <p:nvPicPr>
          <p:cNvPr id="23" name="Grafik 22"/>
          <p:cNvPicPr>
            <a:picLocks noChangeAspect="1"/>
          </p:cNvPicPr>
          <p:nvPr/>
        </p:nvPicPr>
        <p:blipFill>
          <a:blip r:embed="rId3"/>
          <a:stretch>
            <a:fillRect/>
          </a:stretch>
        </p:blipFill>
        <p:spPr>
          <a:xfrm>
            <a:off x="2562922" y="4148013"/>
            <a:ext cx="340197" cy="405178"/>
          </a:xfrm>
          <a:prstGeom prst="rect">
            <a:avLst/>
          </a:prstGeom>
        </p:spPr>
      </p:pic>
      <p:pic>
        <p:nvPicPr>
          <p:cNvPr id="25" name="Grafik 24"/>
          <p:cNvPicPr>
            <a:picLocks noChangeAspect="1"/>
          </p:cNvPicPr>
          <p:nvPr/>
        </p:nvPicPr>
        <p:blipFill>
          <a:blip r:embed="rId3"/>
          <a:stretch>
            <a:fillRect/>
          </a:stretch>
        </p:blipFill>
        <p:spPr>
          <a:xfrm>
            <a:off x="2562922" y="5283102"/>
            <a:ext cx="340197" cy="405178"/>
          </a:xfrm>
          <a:prstGeom prst="rect">
            <a:avLst/>
          </a:prstGeom>
        </p:spPr>
      </p:pic>
      <p:pic>
        <p:nvPicPr>
          <p:cNvPr id="10" name="Grafik 9"/>
          <p:cNvPicPr>
            <a:picLocks noChangeAspect="1"/>
          </p:cNvPicPr>
          <p:nvPr/>
        </p:nvPicPr>
        <p:blipFill>
          <a:blip r:embed="rId3"/>
          <a:stretch>
            <a:fillRect/>
          </a:stretch>
        </p:blipFill>
        <p:spPr>
          <a:xfrm>
            <a:off x="2274014" y="2738811"/>
            <a:ext cx="340197" cy="405178"/>
          </a:xfrm>
          <a:prstGeom prst="rect">
            <a:avLst/>
          </a:prstGeom>
        </p:spPr>
      </p:pic>
      <p:pic>
        <p:nvPicPr>
          <p:cNvPr id="11" name="Grafik 10"/>
          <p:cNvPicPr>
            <a:picLocks noChangeAspect="1"/>
          </p:cNvPicPr>
          <p:nvPr/>
        </p:nvPicPr>
        <p:blipFill>
          <a:blip r:embed="rId4"/>
          <a:stretch>
            <a:fillRect/>
          </a:stretch>
        </p:blipFill>
        <p:spPr>
          <a:xfrm>
            <a:off x="2562924" y="2738811"/>
            <a:ext cx="340197" cy="405178"/>
          </a:xfrm>
          <a:prstGeom prst="rect">
            <a:avLst/>
          </a:prstGeom>
        </p:spPr>
      </p:pic>
      <p:sp>
        <p:nvSpPr>
          <p:cNvPr id="14" name="Textfeld 13"/>
          <p:cNvSpPr txBox="1"/>
          <p:nvPr/>
        </p:nvSpPr>
        <p:spPr>
          <a:xfrm>
            <a:off x="483577" y="2839919"/>
            <a:ext cx="931984" cy="334108"/>
          </a:xfrm>
          <a:prstGeom prst="rect">
            <a:avLst/>
          </a:prstGeom>
          <a:noFill/>
        </p:spPr>
        <p:txBody>
          <a:bodyPr wrap="square" lIns="54610" tIns="54610" rIns="54610" bIns="54610" rtlCol="0">
            <a:noAutofit/>
          </a:bodyPr>
          <a:lstStyle/>
          <a:p>
            <a:pPr>
              <a:spcAft>
                <a:spcPts val="600"/>
              </a:spcAft>
            </a:pPr>
            <a:r>
              <a:rPr lang="en-US" sz="1000" b="1" dirty="0" smtClean="0">
                <a:solidFill>
                  <a:schemeClr val="accent5"/>
                </a:solidFill>
              </a:rPr>
              <a:t>360° CQ</a:t>
            </a:r>
          </a:p>
        </p:txBody>
      </p:sp>
    </p:spTree>
    <p:extLst>
      <p:ext uri="{BB962C8B-B14F-4D97-AF65-F5344CB8AC3E}">
        <p14:creationId xmlns:p14="http://schemas.microsoft.com/office/powerpoint/2010/main" val="22243495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The XXX AG planning reflects a distinct increase of the gross profit margin from x% to y% caused by XXX.</a:t>
            </a:r>
          </a:p>
          <a:p>
            <a:r>
              <a:rPr lang="en-US" dirty="0"/>
              <a:t>This should also lead to an increase of the EBIT margin from x% to y% in the planning period.</a:t>
            </a:r>
          </a:p>
          <a:p>
            <a:r>
              <a:rPr lang="en-US" dirty="0"/>
              <a:t>Considering the results achieved in the past, we consider the XXX AG planning to be ambitious.</a:t>
            </a:r>
          </a:p>
        </p:txBody>
      </p:sp>
      <p:sp>
        <p:nvSpPr>
          <p:cNvPr id="5" name="Textplatzhalter 4"/>
          <p:cNvSpPr>
            <a:spLocks noGrp="1"/>
          </p:cNvSpPr>
          <p:nvPr>
            <p:ph type="body" sz="quarter" idx="12"/>
          </p:nvPr>
        </p:nvSpPr>
        <p:spPr/>
        <p:txBody>
          <a:bodyPr/>
          <a:lstStyle/>
          <a:p>
            <a:r>
              <a:rPr lang="en-US" dirty="0" smtClean="0"/>
              <a:t>Operating plan</a:t>
            </a:r>
          </a:p>
          <a:p>
            <a:pPr lvl="2"/>
            <a:r>
              <a:rPr lang="en-US" dirty="0" smtClean="0"/>
              <a:t>xxx</a:t>
            </a:r>
            <a:endParaRPr lang="en-US" dirty="0"/>
          </a:p>
        </p:txBody>
      </p:sp>
      <p:sp>
        <p:nvSpPr>
          <p:cNvPr id="4" name="Titel 3"/>
          <p:cNvSpPr>
            <a:spLocks noGrp="1"/>
          </p:cNvSpPr>
          <p:nvPr>
            <p:ph type="title"/>
          </p:nvPr>
        </p:nvSpPr>
        <p:spPr/>
        <p:txBody>
          <a:bodyPr/>
          <a:lstStyle/>
          <a:p>
            <a:r>
              <a:rPr lang="en-US" dirty="0"/>
              <a:t>1. Are the planned expenditures, </a:t>
            </a:r>
            <a:r>
              <a:rPr lang="en-US" dirty="0" smtClean="0"/>
              <a:t>cost/income </a:t>
            </a:r>
            <a:r>
              <a:rPr lang="en-US" dirty="0"/>
              <a:t>ratios and the resulting planned profit margins plausible developments from the past? (1/6)</a:t>
            </a:r>
          </a:p>
        </p:txBody>
      </p:sp>
      <p:sp>
        <p:nvSpPr>
          <p:cNvPr id="3" name="Textplatzhalter 2"/>
          <p:cNvSpPr>
            <a:spLocks noGrp="1"/>
          </p:cNvSpPr>
          <p:nvPr>
            <p:ph type="body" sz="quarter" idx="13"/>
          </p:nvPr>
        </p:nvSpPr>
        <p:spPr/>
        <p:txBody>
          <a:bodyPr/>
          <a:lstStyle/>
          <a:p>
            <a:r>
              <a:rPr lang="en-US" dirty="0"/>
              <a:t>Expenditures from Gross Profit to EBIT Total Cost Method (Planning)</a:t>
            </a:r>
          </a:p>
        </p:txBody>
      </p:sp>
      <p:graphicFrame>
        <p:nvGraphicFramePr>
          <p:cNvPr id="39" name="Group 90"/>
          <p:cNvGraphicFramePr>
            <a:graphicFrameLocks noGrp="1"/>
          </p:cNvGraphicFramePr>
          <p:nvPr>
            <p:custDataLst>
              <p:tags r:id="rId2"/>
            </p:custDataLst>
            <p:extLst>
              <p:ext uri="{D42A27DB-BD31-4B8C-83A1-F6EECF244321}">
                <p14:modId xmlns:p14="http://schemas.microsoft.com/office/powerpoint/2010/main" val="1811759334"/>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nalysi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4"/>
          <a:stretch>
            <a:fillRect/>
          </a:stretch>
        </p:blipFill>
        <p:spPr>
          <a:xfrm>
            <a:off x="7677443" y="5701816"/>
            <a:ext cx="340197" cy="405178"/>
          </a:xfrm>
          <a:prstGeom prst="rect">
            <a:avLst/>
          </a:prstGeom>
        </p:spPr>
      </p:pic>
      <p:pic>
        <p:nvPicPr>
          <p:cNvPr id="20" name="Grafik 19"/>
          <p:cNvPicPr>
            <a:picLocks noChangeAspect="1"/>
          </p:cNvPicPr>
          <p:nvPr/>
        </p:nvPicPr>
        <p:blipFill>
          <a:blip r:embed="rId15"/>
          <a:stretch>
            <a:fillRect/>
          </a:stretch>
        </p:blipFill>
        <p:spPr>
          <a:xfrm>
            <a:off x="7966351" y="5701816"/>
            <a:ext cx="340197" cy="405178"/>
          </a:xfrm>
          <a:prstGeom prst="rect">
            <a:avLst/>
          </a:prstGeom>
        </p:spPr>
      </p:pic>
      <p:pic>
        <p:nvPicPr>
          <p:cNvPr id="21" name="Grafik 20"/>
          <p:cNvPicPr>
            <a:picLocks noChangeAspect="1"/>
          </p:cNvPicPr>
          <p:nvPr/>
        </p:nvPicPr>
        <p:blipFill>
          <a:blip r:embed="rId16"/>
          <a:stretch>
            <a:fillRect/>
          </a:stretch>
        </p:blipFill>
        <p:spPr>
          <a:xfrm>
            <a:off x="8255259" y="5701816"/>
            <a:ext cx="340197" cy="405178"/>
          </a:xfrm>
          <a:prstGeom prst="rect">
            <a:avLst/>
          </a:prstGeom>
        </p:spPr>
      </p:pic>
      <p:pic>
        <p:nvPicPr>
          <p:cNvPr id="22" name="Grafik 21"/>
          <p:cNvPicPr>
            <a:picLocks noChangeAspect="1"/>
          </p:cNvPicPr>
          <p:nvPr/>
        </p:nvPicPr>
        <p:blipFill>
          <a:blip r:embed="rId17"/>
          <a:stretch>
            <a:fillRect/>
          </a:stretch>
        </p:blipFill>
        <p:spPr>
          <a:xfrm>
            <a:off x="8544167" y="5701816"/>
            <a:ext cx="340197" cy="405178"/>
          </a:xfrm>
          <a:prstGeom prst="rect">
            <a:avLst/>
          </a:prstGeom>
        </p:spPr>
      </p:pic>
      <p:pic>
        <p:nvPicPr>
          <p:cNvPr id="23" name="Grafik 22"/>
          <p:cNvPicPr>
            <a:picLocks noChangeAspect="1"/>
          </p:cNvPicPr>
          <p:nvPr/>
        </p:nvPicPr>
        <p:blipFill>
          <a:blip r:embed="rId18"/>
          <a:stretch>
            <a:fillRect/>
          </a:stretch>
        </p:blipFill>
        <p:spPr>
          <a:xfrm>
            <a:off x="8833075" y="5701816"/>
            <a:ext cx="340197" cy="405178"/>
          </a:xfrm>
          <a:prstGeom prst="rect">
            <a:avLst/>
          </a:prstGeom>
        </p:spPr>
      </p:pic>
      <p:pic>
        <p:nvPicPr>
          <p:cNvPr id="24" name="Grafik 23"/>
          <p:cNvPicPr>
            <a:picLocks noChangeAspect="1"/>
          </p:cNvPicPr>
          <p:nvPr/>
        </p:nvPicPr>
        <p:blipFill>
          <a:blip r:embed="rId19"/>
          <a:stretch>
            <a:fillRect/>
          </a:stretch>
        </p:blipFill>
        <p:spPr>
          <a:xfrm>
            <a:off x="9121985" y="5701816"/>
            <a:ext cx="340197" cy="405178"/>
          </a:xfrm>
          <a:prstGeom prst="rect">
            <a:avLst/>
          </a:prstGeom>
        </p:spPr>
      </p:pic>
      <p:sp>
        <p:nvSpPr>
          <p:cNvPr id="26" name="Text Placeholder 12"/>
          <p:cNvSpPr txBox="1">
            <a:spLocks/>
          </p:cNvSpPr>
          <p:nvPr>
            <p:custDataLst>
              <p:tags r:id="rId3"/>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Operating plan XXX AG</a:t>
            </a:r>
            <a:endParaRPr lang="en-US" sz="900" kern="0" dirty="0">
              <a:latin typeface="Arial" panose="020B0604020202020204" pitchFamily="34" charset="0"/>
              <a:cs typeface="Arial" panose="020B0604020202020204" pitchFamily="34" charset="0"/>
            </a:endParaRPr>
          </a:p>
        </p:txBody>
      </p:sp>
      <p:pic>
        <p:nvPicPr>
          <p:cNvPr id="11" name="Grafik 10"/>
          <p:cNvPicPr>
            <a:picLocks noChangeAspect="1"/>
          </p:cNvPicPr>
          <p:nvPr>
            <p:custDataLst>
              <p:tags r:id="rId4"/>
            </p:custDataLst>
          </p:nvPr>
        </p:nvPicPr>
        <p:blipFill>
          <a:blip r:embed="rId20"/>
          <a:stretch>
            <a:fillRect/>
          </a:stretch>
        </p:blipFill>
        <p:spPr>
          <a:xfrm>
            <a:off x="2452747" y="4068984"/>
            <a:ext cx="3387600" cy="1609286"/>
          </a:xfrm>
          <a:prstGeom prst="rect">
            <a:avLst/>
          </a:prstGeom>
        </p:spPr>
      </p:pic>
      <p:pic>
        <p:nvPicPr>
          <p:cNvPr id="28" name="Grafik 27"/>
          <p:cNvPicPr>
            <a:picLocks noChangeAspect="1"/>
          </p:cNvPicPr>
          <p:nvPr>
            <p:custDataLst>
              <p:tags r:id="rId5"/>
            </p:custDataLst>
          </p:nvPr>
        </p:nvPicPr>
        <p:blipFill rotWithShape="1">
          <a:blip r:embed="rId21"/>
          <a:srcRect l="3380" t="13069" r="8229" b="14569"/>
          <a:stretch/>
        </p:blipFill>
        <p:spPr>
          <a:xfrm>
            <a:off x="2446338" y="1813560"/>
            <a:ext cx="3528942" cy="1821180"/>
          </a:xfrm>
          <a:prstGeom prst="rect">
            <a:avLst/>
          </a:prstGeom>
        </p:spPr>
      </p:pic>
      <p:grpSp>
        <p:nvGrpSpPr>
          <p:cNvPr id="35" name="Group 2"/>
          <p:cNvGrpSpPr/>
          <p:nvPr>
            <p:custDataLst>
              <p:tags r:id="rId6"/>
            </p:custDataLst>
          </p:nvPr>
        </p:nvGrpSpPr>
        <p:grpSpPr>
          <a:xfrm>
            <a:off x="2856829" y="1672499"/>
            <a:ext cx="1844711" cy="1520281"/>
            <a:chOff x="-755730" y="5561012"/>
            <a:chExt cx="2174657" cy="1624013"/>
          </a:xfrm>
        </p:grpSpPr>
        <p:sp>
          <p:nvSpPr>
            <p:cNvPr id="36" name="Rectangle 2"/>
            <p:cNvSpPr>
              <a:spLocks noChangeArrowheads="1"/>
            </p:cNvSpPr>
            <p:nvPr>
              <p:custDataLst>
                <p:tags r:id="rId10"/>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7" name="Rectangle 2"/>
            <p:cNvSpPr>
              <a:spLocks noChangeArrowheads="1"/>
            </p:cNvSpPr>
            <p:nvPr>
              <p:custDataLst>
                <p:tags r:id="rId11"/>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sp>
        <p:nvSpPr>
          <p:cNvPr id="27" name="Rectangle 4"/>
          <p:cNvSpPr>
            <a:spLocks noChangeArrowheads="1"/>
          </p:cNvSpPr>
          <p:nvPr>
            <p:custDataLst>
              <p:tags r:id="rId7"/>
            </p:custDataLst>
          </p:nvPr>
        </p:nvSpPr>
        <p:spPr bwMode="gray">
          <a:xfrm>
            <a:off x="7763608" y="5358095"/>
            <a:ext cx="1653442" cy="320175"/>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Instead of EBIT, presentation of EBITDA may also be recommendable</a:t>
            </a:r>
          </a:p>
        </p:txBody>
      </p:sp>
      <p:pic>
        <p:nvPicPr>
          <p:cNvPr id="7" name="Grafik 6"/>
          <p:cNvPicPr>
            <a:picLocks noChangeAspect="1"/>
          </p:cNvPicPr>
          <p:nvPr>
            <p:custDataLst>
              <p:tags r:id="rId8"/>
            </p:custDataLst>
          </p:nvPr>
        </p:nvPicPr>
        <p:blipFill>
          <a:blip r:embed="rId22"/>
          <a:stretch>
            <a:fillRect/>
          </a:stretch>
        </p:blipFill>
        <p:spPr>
          <a:xfrm>
            <a:off x="-2764376" y="1177925"/>
            <a:ext cx="1999661" cy="2225233"/>
          </a:xfrm>
          <a:prstGeom prst="rect">
            <a:avLst/>
          </a:prstGeom>
        </p:spPr>
      </p:pic>
      <p:pic>
        <p:nvPicPr>
          <p:cNvPr id="9" name="Grafik 8"/>
          <p:cNvPicPr>
            <a:picLocks noChangeAspect="1"/>
          </p:cNvPicPr>
          <p:nvPr>
            <p:custDataLst>
              <p:tags r:id="rId9"/>
            </p:custDataLst>
          </p:nvPr>
        </p:nvPicPr>
        <p:blipFill>
          <a:blip r:embed="rId23"/>
          <a:stretch>
            <a:fillRect/>
          </a:stretch>
        </p:blipFill>
        <p:spPr>
          <a:xfrm>
            <a:off x="-2764376" y="3796155"/>
            <a:ext cx="1975275" cy="2225233"/>
          </a:xfrm>
          <a:prstGeom prst="rect">
            <a:avLst/>
          </a:prstGeom>
        </p:spPr>
      </p:pic>
      <p:graphicFrame>
        <p:nvGraphicFramePr>
          <p:cNvPr id="30" name="Objekt 29"/>
          <p:cNvGraphicFramePr>
            <a:graphicFrameLocks noChangeAspect="1"/>
          </p:cNvGraphicFramePr>
          <p:nvPr>
            <p:extLst>
              <p:ext uri="{D42A27DB-BD31-4B8C-83A1-F6EECF244321}">
                <p14:modId xmlns:p14="http://schemas.microsoft.com/office/powerpoint/2010/main" val="2086991642"/>
              </p:ext>
            </p:extLst>
          </p:nvPr>
        </p:nvGraphicFramePr>
        <p:xfrm>
          <a:off x="-1703501" y="451575"/>
          <a:ext cx="914400" cy="771525"/>
        </p:xfrm>
        <a:graphic>
          <a:graphicData uri="http://schemas.openxmlformats.org/presentationml/2006/ole">
            <mc:AlternateContent xmlns:mc="http://schemas.openxmlformats.org/markup-compatibility/2006">
              <mc:Choice xmlns:v="urn:schemas-microsoft-com:vml" Requires="v">
                <p:oleObj spid="_x0000_s18463" name="Arbeitsblatt" showAsIcon="1" r:id="rId24" imgW="914400" imgH="771480" progId="Excel.Sheet.12">
                  <p:embed/>
                </p:oleObj>
              </mc:Choice>
              <mc:Fallback>
                <p:oleObj name="Arbeitsblatt" showAsIcon="1" r:id="rId24" imgW="914400" imgH="771480" progId="Excel.Sheet.12">
                  <p:embed/>
                  <p:pic>
                    <p:nvPicPr>
                      <p:cNvPr id="0" name=""/>
                      <p:cNvPicPr/>
                      <p:nvPr/>
                    </p:nvPicPr>
                    <p:blipFill>
                      <a:blip r:embed="rId25"/>
                      <a:stretch>
                        <a:fillRect/>
                      </a:stretch>
                    </p:blipFill>
                    <p:spPr>
                      <a:xfrm>
                        <a:off x="-1703501" y="451575"/>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2512718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Report"/>
  <p:tag name="KEYWORD" val="REPORT"/>
  <p:tag name="TEMPLATEVERSION" val="12/02/2016 01:32:30"/>
</p:tagLst>
</file>

<file path=ppt/tags/tag10.xml><?xml version="1.0" encoding="utf-8"?>
<p:tagLst xmlns:a="http://schemas.openxmlformats.org/drawingml/2006/main" xmlns:r="http://schemas.openxmlformats.org/officeDocument/2006/relationships" xmlns:p="http://schemas.openxmlformats.org/presentationml/2006/main">
  <p:tag name="FASFONT" val="Univers55"/>
</p:tagLst>
</file>

<file path=ppt/tags/tag10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03_FC vs. Budget Diagramm 13"/>
  <p:tag name="WASTB" val="TRUE"/>
</p:tagLst>
</file>

<file path=ppt/tags/tag10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03_FC vs. Budget Diagramm 12"/>
  <p:tag name="WASTB" val="TRUE"/>
</p:tagLst>
</file>

<file path=ppt/tags/tag102.xml><?xml version="1.0" encoding="utf-8"?>
<p:tagLst xmlns:a="http://schemas.openxmlformats.org/drawingml/2006/main" xmlns:r="http://schemas.openxmlformats.org/officeDocument/2006/relationships" xmlns:p="http://schemas.openxmlformats.org/presentationml/2006/main">
  <p:tag name="FASFONT" val="Univers55"/>
</p:tagLst>
</file>

<file path=ppt/tags/tag103.xml><?xml version="1.0" encoding="utf-8"?>
<p:tagLst xmlns:a="http://schemas.openxmlformats.org/drawingml/2006/main" xmlns:r="http://schemas.openxmlformats.org/officeDocument/2006/relationships" xmlns:p="http://schemas.openxmlformats.org/presentationml/2006/main">
  <p:tag name="FASFONT" val="Univers55"/>
</p:tagLst>
</file>

<file path=ppt/tags/tag104.xml><?xml version="1.0" encoding="utf-8"?>
<p:tagLst xmlns:a="http://schemas.openxmlformats.org/drawingml/2006/main" xmlns:r="http://schemas.openxmlformats.org/officeDocument/2006/relationships" xmlns:p="http://schemas.openxmlformats.org/presentationml/2006/main">
  <p:tag name="FASFONT" val="Univers55"/>
</p:tagLst>
</file>

<file path=ppt/tags/tag105.xml><?xml version="1.0" encoding="utf-8"?>
<p:tagLst xmlns:a="http://schemas.openxmlformats.org/drawingml/2006/main" xmlns:r="http://schemas.openxmlformats.org/officeDocument/2006/relationships" xmlns:p="http://schemas.openxmlformats.org/presentationml/2006/main">
  <p:tag name="FASFONT" val="Univers55"/>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07.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0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03_FC vs. Budget Diagramm 10"/>
</p:tagLst>
</file>

<file path=ppt/tags/tag10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A$154:$G$162"/>
</p:tagLst>
</file>

<file path=ppt/tags/tag11.xml><?xml version="1.0" encoding="utf-8"?>
<p:tagLst xmlns:a="http://schemas.openxmlformats.org/drawingml/2006/main" xmlns:r="http://schemas.openxmlformats.org/officeDocument/2006/relationships" xmlns:p="http://schemas.openxmlformats.org/presentationml/2006/main">
  <p:tag name="FASFONT" val="Univers55"/>
</p:tagLst>
</file>

<file path=ppt/tags/tag11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03_FC vs. Budget Diagramm 10"/>
  <p:tag name="WASTB" val="TRUE"/>
</p:tagLst>
</file>

<file path=ppt/tags/tag11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A$154:$G$162"/>
  <p:tag name="WASTB" val="TRU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13.xml><?xml version="1.0" encoding="utf-8"?>
<p:tagLst xmlns:a="http://schemas.openxmlformats.org/drawingml/2006/main" xmlns:r="http://schemas.openxmlformats.org/officeDocument/2006/relationships" xmlns:p="http://schemas.openxmlformats.org/presentationml/2006/main">
  <p:tag name="FASFONT" val="Univers55"/>
</p:tagLst>
</file>

<file path=ppt/tags/tag114.xml><?xml version="1.0" encoding="utf-8"?>
<p:tagLst xmlns:a="http://schemas.openxmlformats.org/drawingml/2006/main" xmlns:r="http://schemas.openxmlformats.org/officeDocument/2006/relationships" xmlns:p="http://schemas.openxmlformats.org/presentationml/2006/main">
  <p:tag name="FASFONT" val="Univers55"/>
</p:tagLst>
</file>

<file path=ppt/tags/tag11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big!$A$39:$G$61"/>
</p:tagLst>
</file>

<file path=ppt/tags/tag11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big!$A$39:$G$61"/>
  <p:tag name="WASTB" val="TRU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18.xml><?xml version="1.0" encoding="utf-8"?>
<p:tagLst xmlns:a="http://schemas.openxmlformats.org/drawingml/2006/main" xmlns:r="http://schemas.openxmlformats.org/officeDocument/2006/relationships" xmlns:p="http://schemas.openxmlformats.org/presentationml/2006/main">
  <p:tag name="FASFONT" val="Univers55"/>
</p:tagLst>
</file>

<file path=ppt/tags/tag119.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2.xml><?xml version="1.0" encoding="utf-8"?>
<p:tagLst xmlns:a="http://schemas.openxmlformats.org/drawingml/2006/main" xmlns:r="http://schemas.openxmlformats.org/officeDocument/2006/relationships" xmlns:p="http://schemas.openxmlformats.org/presentationml/2006/main">
  <p:tag name="FASFONT" val="Univers55"/>
</p:tagLst>
</file>

<file path=ppt/tags/tag120.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2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3"/>
</p:tagLst>
</file>

<file path=ppt/tags/tag12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6"/>
</p:tagLst>
</file>

<file path=ppt/tags/tag12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3"/>
  <p:tag name="WASTB" val="TRUE"/>
</p:tagLst>
</file>

<file path=ppt/tags/tag12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6"/>
  <p:tag name="WASTB" val="TRU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2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27.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2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7"/>
</p:tagLst>
</file>

<file path=ppt/tags/tag129.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13.xml><?xml version="1.0" encoding="utf-8"?>
<p:tagLst xmlns:a="http://schemas.openxmlformats.org/drawingml/2006/main" xmlns:r="http://schemas.openxmlformats.org/officeDocument/2006/relationships" xmlns:p="http://schemas.openxmlformats.org/presentationml/2006/main">
  <p:tag name="FASFONT" val="Univers55"/>
</p:tagLst>
</file>

<file path=ppt/tags/tag130.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13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8"/>
</p:tagLst>
</file>

<file path=ppt/tags/tag13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8"/>
  <p:tag name="WASTB" val="TRUE"/>
</p:tagLst>
</file>

<file path=ppt/tags/tag13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7"/>
  <p:tag name="WASTB" val="TRUE"/>
</p:tagLst>
</file>

<file path=ppt/tags/tag134.xml><?xml version="1.0" encoding="utf-8"?>
<p:tagLst xmlns:a="http://schemas.openxmlformats.org/drawingml/2006/main" xmlns:r="http://schemas.openxmlformats.org/officeDocument/2006/relationships" xmlns:p="http://schemas.openxmlformats.org/presentationml/2006/main">
  <p:tag name="FASFONT" val="Univers55"/>
</p:tagLst>
</file>

<file path=ppt/tags/tag135.xml><?xml version="1.0" encoding="utf-8"?>
<p:tagLst xmlns:a="http://schemas.openxmlformats.org/drawingml/2006/main" xmlns:r="http://schemas.openxmlformats.org/officeDocument/2006/relationships" xmlns:p="http://schemas.openxmlformats.org/presentationml/2006/main">
  <p:tag name="FASFONT" val="Univers55"/>
</p:tagLst>
</file>

<file path=ppt/tags/tag136.xml><?xml version="1.0" encoding="utf-8"?>
<p:tagLst xmlns:a="http://schemas.openxmlformats.org/drawingml/2006/main" xmlns:r="http://schemas.openxmlformats.org/officeDocument/2006/relationships" xmlns:p="http://schemas.openxmlformats.org/presentationml/2006/main">
  <p:tag name="FASFONT" val="Univers55"/>
</p:tagLst>
</file>

<file path=ppt/tags/tag137.xml><?xml version="1.0" encoding="utf-8"?>
<p:tagLst xmlns:a="http://schemas.openxmlformats.org/drawingml/2006/main" xmlns:r="http://schemas.openxmlformats.org/officeDocument/2006/relationships" xmlns:p="http://schemas.openxmlformats.org/presentationml/2006/main">
  <p:tag name="FASFONT" val="Univers55"/>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39.xml><?xml version="1.0" encoding="utf-8"?>
<p:tagLst xmlns:a="http://schemas.openxmlformats.org/drawingml/2006/main" xmlns:r="http://schemas.openxmlformats.org/officeDocument/2006/relationships" xmlns:p="http://schemas.openxmlformats.org/presentationml/2006/main">
  <p:tag name="FASFONT" val="Univers55"/>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40.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4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A$135:$G$154"/>
</p:tagLst>
</file>

<file path=ppt/tags/tag14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A$135:$G$154"/>
  <p:tag name="WASTB" val="TRU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4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4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A$103:$G$111"/>
</p:tagLst>
</file>

<file path=ppt/tags/tag14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04_Cost split up_small Diagramm 6"/>
</p:tagLst>
</file>

<file path=ppt/tags/tag147.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14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A$103:$G$111"/>
  <p:tag name="WASTB" val="TRUE"/>
</p:tagLst>
</file>

<file path=ppt/tags/tag14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04_Cost split up_small Diagramm 6"/>
  <p:tag name="WASTB" val="TRUE"/>
</p:tagLst>
</file>

<file path=ppt/tags/tag1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50.xml><?xml version="1.0" encoding="utf-8"?>
<p:tagLst xmlns:a="http://schemas.openxmlformats.org/drawingml/2006/main" xmlns:r="http://schemas.openxmlformats.org/officeDocument/2006/relationships" xmlns:p="http://schemas.openxmlformats.org/presentationml/2006/main">
  <p:tag name="FASFONT" val="Univers55"/>
</p:tagLst>
</file>

<file path=ppt/tags/tag151.xml><?xml version="1.0" encoding="utf-8"?>
<p:tagLst xmlns:a="http://schemas.openxmlformats.org/drawingml/2006/main" xmlns:r="http://schemas.openxmlformats.org/officeDocument/2006/relationships" xmlns:p="http://schemas.openxmlformats.org/presentationml/2006/main">
  <p:tag name="FASFONT" val="Univers55"/>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5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5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5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6"/>
</p:tagLst>
</file>

<file path=ppt/tags/tag15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8"/>
</p:tagLst>
</file>

<file path=ppt/tags/tag15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6"/>
  <p:tag name="WASTB" val="TRUE"/>
</p:tagLst>
</file>

<file path=ppt/tags/tag15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8"/>
  <p:tag name="WASTB" val="TRU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A$24:$G$34"/>
</p:tagLst>
</file>

<file path=ppt/tags/tag160.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6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2"/>
</p:tagLst>
</file>

<file path=ppt/tags/tag16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2"/>
  <p:tag name="WASTB" val="TRUE"/>
</p:tagLst>
</file>

<file path=ppt/tags/tag163.xml><?xml version="1.0" encoding="utf-8"?>
<p:tagLst xmlns:a="http://schemas.openxmlformats.org/drawingml/2006/main" xmlns:r="http://schemas.openxmlformats.org/officeDocument/2006/relationships" xmlns:p="http://schemas.openxmlformats.org/presentationml/2006/main">
  <p:tag name="COPYRIGHT1" val="TRUE"/>
</p:tagLst>
</file>

<file path=ppt/tags/tag1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1"/>
</p:tagLst>
</file>

<file path=ppt/tags/tag18.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19.xml><?xml version="1.0" encoding="utf-8"?>
<p:tagLst xmlns:a="http://schemas.openxmlformats.org/drawingml/2006/main" xmlns:r="http://schemas.openxmlformats.org/officeDocument/2006/relationships" xmlns:p="http://schemas.openxmlformats.org/presentationml/2006/main">
  <p:tag name="FASFONT" val="Univers55"/>
</p:tagLst>
</file>

<file path=ppt/tags/tag2.xml><?xml version="1.0" encoding="utf-8"?>
<p:tagLst xmlns:a="http://schemas.openxmlformats.org/drawingml/2006/main" xmlns:r="http://schemas.openxmlformats.org/officeDocument/2006/relationships" xmlns:p="http://schemas.openxmlformats.org/presentationml/2006/main">
  <p:tag name="ADV_TOP" val="497,6471"/>
  <p:tag name="ADV_LEFT" val="121,9184"/>
  <p:tag name="ADV_HEIGHT" val="29,19685"/>
  <p:tag name="ADV_WIDTH" val="538,937"/>
  <p:tag name="ADV_COPYRIGHT" val="TRUE"/>
</p:tagLst>
</file>

<file path=ppt/tags/tag2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1"/>
  <p:tag name="WASTB" val="TRUE"/>
</p:tagLst>
</file>

<file path=ppt/tags/tag2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A$24:$G$34"/>
  <p:tag name="WASTB" val="TRUE"/>
</p:tagLst>
</file>

<file path=ppt/tags/tag22.xml><?xml version="1.0" encoding="utf-8"?>
<p:tagLst xmlns:a="http://schemas.openxmlformats.org/drawingml/2006/main" xmlns:r="http://schemas.openxmlformats.org/officeDocument/2006/relationships" xmlns:p="http://schemas.openxmlformats.org/presentationml/2006/main">
  <p:tag name="FASFONT" val="Univers55"/>
</p:tagLst>
</file>

<file path=ppt/tags/tag23.xml><?xml version="1.0" encoding="utf-8"?>
<p:tagLst xmlns:a="http://schemas.openxmlformats.org/drawingml/2006/main" xmlns:r="http://schemas.openxmlformats.org/officeDocument/2006/relationships" xmlns:p="http://schemas.openxmlformats.org/presentationml/2006/main">
  <p:tag name="FASFONT" val="Univers55"/>
</p:tagLst>
</file>

<file path=ppt/tags/tag2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big!$A$71:$G$88"/>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26.xml><?xml version="1.0" encoding="utf-8"?>
<p:tagLst xmlns:a="http://schemas.openxmlformats.org/drawingml/2006/main" xmlns:r="http://schemas.openxmlformats.org/officeDocument/2006/relationships" xmlns:p="http://schemas.openxmlformats.org/presentationml/2006/main">
  <p:tag name="FASFONT" val="Univers55"/>
</p:tagLst>
</file>

<file path=ppt/tags/tag27.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28.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2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big!$A$71:$G$88"/>
  <p:tag name="WASTB" val="TRUE"/>
</p:tagLst>
</file>

<file path=ppt/tags/tag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6"/>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32.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3.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3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11"/>
</p:tagLst>
</file>

<file path=ppt/tags/tag36.xml><?xml version="1.0" encoding="utf-8"?>
<p:tagLst xmlns:a="http://schemas.openxmlformats.org/drawingml/2006/main" xmlns:r="http://schemas.openxmlformats.org/officeDocument/2006/relationships" xmlns:p="http://schemas.openxmlformats.org/presentationml/2006/main">
  <p:tag name="FASFONT" val="Univers55"/>
</p:tagLst>
</file>

<file path=ppt/tags/tag37.xml><?xml version="1.0" encoding="utf-8"?>
<p:tagLst xmlns:a="http://schemas.openxmlformats.org/drawingml/2006/main" xmlns:r="http://schemas.openxmlformats.org/officeDocument/2006/relationships" xmlns:p="http://schemas.openxmlformats.org/presentationml/2006/main">
  <p:tag name="FASFONT" val="Univers55"/>
</p:tagLst>
</file>

<file path=ppt/tags/tag3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6"/>
  <p:tag name="WASTB" val="TRUE"/>
</p:tagLst>
</file>

<file path=ppt/tags/tag3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11"/>
  <p:tag name="WASTB" val="TRUE"/>
</p:tagLst>
</file>

<file path=ppt/tags/tag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0.xml><?xml version="1.0" encoding="utf-8"?>
<p:tagLst xmlns:a="http://schemas.openxmlformats.org/drawingml/2006/main" xmlns:r="http://schemas.openxmlformats.org/officeDocument/2006/relationships" xmlns:p="http://schemas.openxmlformats.org/presentationml/2006/main">
  <p:tag name="FASFONT" val="Univers55"/>
</p:tagLst>
</file>

<file path=ppt/tags/tag41.xml><?xml version="1.0" encoding="utf-8"?>
<p:tagLst xmlns:a="http://schemas.openxmlformats.org/drawingml/2006/main" xmlns:r="http://schemas.openxmlformats.org/officeDocument/2006/relationships" xmlns:p="http://schemas.openxmlformats.org/presentationml/2006/main">
  <p:tag name="FASFONT" val="Univers55"/>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4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4.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4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A$175:$G$183"/>
</p:tagLst>
</file>

<file path=ppt/tags/tag4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19"/>
</p:tagLst>
</file>

<file path=ppt/tags/tag47.xml><?xml version="1.0" encoding="utf-8"?>
<p:tagLst xmlns:a="http://schemas.openxmlformats.org/drawingml/2006/main" xmlns:r="http://schemas.openxmlformats.org/officeDocument/2006/relationships" xmlns:p="http://schemas.openxmlformats.org/presentationml/2006/main">
  <p:tag name="FASFONT" val="Univers55"/>
</p:tagLst>
</file>

<file path=ppt/tags/tag4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19"/>
  <p:tag name="WASTB" val="TRUE"/>
</p:tagLst>
</file>

<file path=ppt/tags/tag4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A$175:$G$183"/>
  <p:tag name="WASTB" val="TRUE"/>
</p:tagLst>
</file>

<file path=ppt/tags/tag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61"/>
</p:tagLst>
</file>

<file path=ppt/tags/tag50.xml><?xml version="1.0" encoding="utf-8"?>
<p:tagLst xmlns:a="http://schemas.openxmlformats.org/drawingml/2006/main" xmlns:r="http://schemas.openxmlformats.org/officeDocument/2006/relationships" xmlns:p="http://schemas.openxmlformats.org/presentationml/2006/main">
  <p:tag name="FASFONT" val="Univers55"/>
</p:tagLst>
</file>

<file path=ppt/tags/tag51.xml><?xml version="1.0" encoding="utf-8"?>
<p:tagLst xmlns:a="http://schemas.openxmlformats.org/drawingml/2006/main" xmlns:r="http://schemas.openxmlformats.org/officeDocument/2006/relationships" xmlns:p="http://schemas.openxmlformats.org/presentationml/2006/main">
  <p:tag name="FASFONT" val="Univers55"/>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5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5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A$175:$G$183"/>
</p:tagLst>
</file>

<file path=ppt/tags/tag55.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5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17"/>
</p:tagLst>
</file>

<file path=ppt/tags/tag57.xml><?xml version="1.0" encoding="utf-8"?>
<p:tagLst xmlns:a="http://schemas.openxmlformats.org/drawingml/2006/main" xmlns:r="http://schemas.openxmlformats.org/officeDocument/2006/relationships" xmlns:p="http://schemas.openxmlformats.org/presentationml/2006/main">
  <p:tag name="FASFONT" val="Univers55"/>
</p:tagLst>
</file>

<file path=ppt/tags/tag5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A$175:$G$183"/>
  <p:tag name="WASTB" val="TRUE"/>
</p:tagLst>
</file>

<file path=ppt/tags/tag5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17"/>
  <p:tag name="WASTB" val="TRUE"/>
</p:tagLst>
</file>

<file path=ppt/tags/tag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111"/>
</p:tagLst>
</file>

<file path=ppt/tags/tag60.xml><?xml version="1.0" encoding="utf-8"?>
<p:tagLst xmlns:a="http://schemas.openxmlformats.org/drawingml/2006/main" xmlns:r="http://schemas.openxmlformats.org/officeDocument/2006/relationships" xmlns:p="http://schemas.openxmlformats.org/presentationml/2006/main">
  <p:tag name="FASFONT" val="Univers55"/>
</p:tagLst>
</file>

<file path=ppt/tags/tag61.xml><?xml version="1.0" encoding="utf-8"?>
<p:tagLst xmlns:a="http://schemas.openxmlformats.org/drawingml/2006/main" xmlns:r="http://schemas.openxmlformats.org/officeDocument/2006/relationships" xmlns:p="http://schemas.openxmlformats.org/presentationml/2006/main">
  <p:tag name="FASFONT" val="Univers55"/>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6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64.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6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66.xml><?xml version="1.0" encoding="utf-8"?>
<p:tagLst xmlns:a="http://schemas.openxmlformats.org/drawingml/2006/main" xmlns:r="http://schemas.openxmlformats.org/officeDocument/2006/relationships" xmlns:p="http://schemas.openxmlformats.org/presentationml/2006/main">
  <p:tag name="FASFONT" val="Univers55"/>
</p:tagLst>
</file>

<file path=ppt/tags/tag67.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6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21"/>
</p:tagLst>
</file>

<file path=ppt/tags/tag6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22"/>
</p:tagLst>
</file>

<file path=ppt/tags/tag7.xml><?xml version="1.0" encoding="utf-8"?>
<p:tagLst xmlns:a="http://schemas.openxmlformats.org/drawingml/2006/main" xmlns:r="http://schemas.openxmlformats.org/officeDocument/2006/relationships" xmlns:p="http://schemas.openxmlformats.org/presentationml/2006/main">
  <p:tag name="FASFONT" val="Univers55"/>
</p:tagLst>
</file>

<file path=ppt/tags/tag7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21"/>
  <p:tag name="WASTB" val="TRUE"/>
</p:tagLst>
</file>

<file path=ppt/tags/tag7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22"/>
  <p:tag name="WASTB" val="TRUE"/>
</p:tagLst>
</file>

<file path=ppt/tags/tag72.xml><?xml version="1.0" encoding="utf-8"?>
<p:tagLst xmlns:a="http://schemas.openxmlformats.org/drawingml/2006/main" xmlns:r="http://schemas.openxmlformats.org/officeDocument/2006/relationships" xmlns:p="http://schemas.openxmlformats.org/presentationml/2006/main">
  <p:tag name="FASFONT" val="Univers55"/>
</p:tagLst>
</file>

<file path=ppt/tags/tag73.xml><?xml version="1.0" encoding="utf-8"?>
<p:tagLst xmlns:a="http://schemas.openxmlformats.org/drawingml/2006/main" xmlns:r="http://schemas.openxmlformats.org/officeDocument/2006/relationships" xmlns:p="http://schemas.openxmlformats.org/presentationml/2006/main">
  <p:tag name="FASFONT" val="Univers55"/>
</p:tagLst>
</file>

<file path=ppt/tags/tag74.xml><?xml version="1.0" encoding="utf-8"?>
<p:tagLst xmlns:a="http://schemas.openxmlformats.org/drawingml/2006/main" xmlns:r="http://schemas.openxmlformats.org/officeDocument/2006/relationships" xmlns:p="http://schemas.openxmlformats.org/presentationml/2006/main">
  <p:tag name="FASFONT" val="Univers55"/>
</p:tagLst>
</file>

<file path=ppt/tags/tag75.xml><?xml version="1.0" encoding="utf-8"?>
<p:tagLst xmlns:a="http://schemas.openxmlformats.org/drawingml/2006/main" xmlns:r="http://schemas.openxmlformats.org/officeDocument/2006/relationships" xmlns:p="http://schemas.openxmlformats.org/presentationml/2006/main">
  <p:tag name="FASFONT" val="Univers55"/>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77.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7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16"/>
</p:tagLst>
</file>

<file path=ppt/tags/tag7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16"/>
  <p:tag name="WASTB" val="TRUE"/>
</p:tagLst>
</file>

<file path=ppt/tags/tag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61"/>
  <p:tag name="WASTB" val="TRU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81.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82.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83.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4"/>
</p:tagLst>
</file>

<file path=ppt/tags/tag8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5"/>
  <p:tag name="WASTB" val="TRUE"/>
</p:tagLst>
</file>

<file path=ppt/tags/tag8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4"/>
  <p:tag name="WASTB" val="TRUE"/>
</p:tagLst>
</file>

<file path=ppt/tags/tag8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5"/>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88.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8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A$43:$G$60"/>
</p:tagLst>
</file>

<file path=ppt/tags/tag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1_P&amp;L_small!01_P&amp;L_small Diagramm 111"/>
  <p:tag name="WASTB" val="TRUE"/>
</p:tagLst>
</file>

<file path=ppt/tags/tag9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03_FC vs. Budget Diagramm 5"/>
</p:tagLst>
</file>

<file path=ppt/tags/tag9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A$43:$G$60"/>
  <p:tag name="WASTB" val="TRUE"/>
</p:tagLst>
</file>

<file path=ppt/tags/tag9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03_FC vs. Budget Diagramm 5"/>
  <p:tag name="WASTB" val="TRU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9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9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9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03_FC vs. Budget Diagramm 13"/>
</p:tagLst>
</file>

<file path=ppt/tags/tag9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3_FC vs. Budget!03_FC vs. Budget Diagramm 12"/>
</p:tagLst>
</file>

<file path=ppt/tags/tag98.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99.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heme/theme1.xml><?xml version="1.0" encoding="utf-8"?>
<a:theme xmlns:a="http://schemas.openxmlformats.org/drawingml/2006/main" name="KPMG_Report_4x3_050216_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A66F3A25-DDAF-4F9C-9EC7-C070DE56DA99}" vid="{DE4577A6-B610-45C4-BDC3-84C99DB1A86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0C5FB51930F184B8470DE91B960B2CC" ma:contentTypeVersion="1" ma:contentTypeDescription="Create a new document." ma:contentTypeScope="" ma:versionID="b0b2db6cb79bc243617bdfba5069fc8f">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D3A73D7-3AEA-4DE7-93AF-7444C9146F34}">
  <ds:schemaRefs>
    <ds:schemaRef ds:uri="http://schemas.microsoft.com/office/2006/metadata/properties"/>
    <ds:schemaRef ds:uri="http://schemas.microsoft.com/sharepoint/v3"/>
  </ds:schemaRefs>
</ds:datastoreItem>
</file>

<file path=customXml/itemProps2.xml><?xml version="1.0" encoding="utf-8"?>
<ds:datastoreItem xmlns:ds="http://schemas.openxmlformats.org/officeDocument/2006/customXml" ds:itemID="{B8ED087E-A37A-4891-BA1D-CAAE9C87AE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878D9B6-2014-46DF-942A-E40B009DBC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KPMG Report Standard Template</Template>
  <TotalTime>0</TotalTime>
  <Words>5414</Words>
  <Application>Microsoft Office PowerPoint</Application>
  <PresentationFormat>A4-Papier (210x297 mm)</PresentationFormat>
  <Paragraphs>497</Paragraphs>
  <Slides>27</Slides>
  <Notes>27</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27</vt:i4>
      </vt:variant>
    </vt:vector>
  </HeadingPairs>
  <TitlesOfParts>
    <vt:vector size="35" baseType="lpstr">
      <vt:lpstr>Arial</vt:lpstr>
      <vt:lpstr>Calibri</vt:lpstr>
      <vt:lpstr>KPMG Extralight</vt:lpstr>
      <vt:lpstr>KPMG Light</vt:lpstr>
      <vt:lpstr>Univers for KPMG Light</vt:lpstr>
      <vt:lpstr>Wingdings</vt:lpstr>
      <vt:lpstr>KPMG_Report_4x3_050216_2016</vt:lpstr>
      <vt:lpstr>Arbeitsblatt</vt:lpstr>
      <vt:lpstr>Workbook Expenditures from Gross Profit to EBIT – Total Cost Method (TCM) (Planning)</vt:lpstr>
      <vt:lpstr>Disclaimer</vt:lpstr>
      <vt:lpstr>Overview (1/6) – Mission statement</vt:lpstr>
      <vt:lpstr>Overview (2/6) – Structure of the P&amp;L analysis and corresponding workbooks</vt:lpstr>
      <vt:lpstr>Overview (3/6) – Analysis puzzle</vt:lpstr>
      <vt:lpstr>Overview (4/6) – Pitfalls</vt:lpstr>
      <vt:lpstr>Overview (5/6) – Core issues</vt:lpstr>
      <vt:lpstr>Overview (6/6) – Core issues</vt:lpstr>
      <vt:lpstr>1. Are the planned expenditures, cost/income ratios and the resulting planned profit margins plausible developments from the past? (1/6)</vt:lpstr>
      <vt:lpstr>1. Are the planned expenditures, cost/income ratios and the resulting planned profit margins plausible developments from the past? (2/6)</vt:lpstr>
      <vt:lpstr>1. Are the planned expenditures, cost/income ratios and the resulting planned profit margins plausible developments from the past? (3/6)</vt:lpstr>
      <vt:lpstr>1. Are the planned expenditures, cost/income ratios and the resulting planned profit margins plausible developments from the past? (4/6)</vt:lpstr>
      <vt:lpstr>1. Are the planned expenditures, cost ratios and the resulting planned profit margins plausible developments from the past? (4/6)</vt:lpstr>
      <vt:lpstr>1. Are the planned expenditures, cost ratios and the resulting planned profit margins plausible developments from the past? (5/6)</vt:lpstr>
      <vt:lpstr>1. Are the planned expenditures, cost/income ratios and the resulting planned profit margins plausible developments from the past? (6/6)</vt:lpstr>
      <vt:lpstr>2. Are the planned types of expenditures and the resulting margins  consistent with the market expectations?</vt:lpstr>
      <vt:lpstr>3. Does the current trading/LTM or the current forecast support  the cost and profit planning? (1/3)</vt:lpstr>
      <vt:lpstr>3. Does the current trading/LTM or the current forecast support  the cost and profit planning? (2/3)</vt:lpstr>
      <vt:lpstr>3. Does the current trading/LTM or the current forecast support  the cost and profit planning? (3/3)</vt:lpstr>
      <vt:lpstr>4. Are the personnel costs planned plausibly? (1/2)</vt:lpstr>
      <vt:lpstr>4. Are the personnel costs planned plausibly? (2/2)</vt:lpstr>
      <vt:lpstr>4. Are the personnel costs planned plausibly? (2/2)</vt:lpstr>
      <vt:lpstr>5. Has other operating result been plausibly planned?</vt:lpstr>
      <vt:lpstr>6. Has depreciation been plausibly planned? (1/3)</vt:lpstr>
      <vt:lpstr>6. Has depreciation been plausibly planned? (2/3)</vt:lpstr>
      <vt:lpstr>6. Has depreciation been plausibly planned? (3/3)</vt:lpstr>
      <vt:lpstr>PowerPoint-Prä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  template</dc:title>
  <dc:creator>KM Germany</dc:creator>
  <cp:keywords/>
  <dc:description/>
  <cp:lastModifiedBy>Müller, Christian</cp:lastModifiedBy>
  <cp:revision>380</cp:revision>
  <dcterms:created xsi:type="dcterms:W3CDTF">2016-06-20T11:42:26Z</dcterms:created>
  <dcterms:modified xsi:type="dcterms:W3CDTF">2017-04-21T11:54:26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0</vt:lpwstr>
  </property>
  <property fmtid="{D5CDD505-2E9C-101B-9397-08002B2CF9AE}" pid="3" name="ContentTypeId">
    <vt:lpwstr>0x01010010C5FB51930F184B8470DE91B960B2CC</vt:lpwstr>
  </property>
</Properties>
</file>